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0" r:id="rId4"/>
  </p:sldMasterIdLst>
  <p:notesMasterIdLst>
    <p:notesMasterId r:id="rId20"/>
  </p:notesMasterIdLst>
  <p:sldIdLst>
    <p:sldId id="291" r:id="rId5"/>
    <p:sldId id="263" r:id="rId6"/>
    <p:sldId id="264" r:id="rId7"/>
    <p:sldId id="265" r:id="rId8"/>
    <p:sldId id="266" r:id="rId9"/>
    <p:sldId id="267" r:id="rId10"/>
    <p:sldId id="287" r:id="rId11"/>
    <p:sldId id="288" r:id="rId12"/>
    <p:sldId id="270" r:id="rId13"/>
    <p:sldId id="271" r:id="rId14"/>
    <p:sldId id="272" r:id="rId15"/>
    <p:sldId id="278" r:id="rId16"/>
    <p:sldId id="274" r:id="rId17"/>
    <p:sldId id="275" r:id="rId18"/>
    <p:sldId id="277" r:id="rId19"/>
  </p:sldIdLst>
  <p:sldSz cx="12192000" cy="6858000"/>
  <p:notesSz cx="6742113" cy="9874250"/>
  <p:custDataLst>
    <p:tags r:id="rId21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letcher Mark" initials="FM" lastIdx="14" clrIdx="0">
    <p:extLst>
      <p:ext uri="{19B8F6BF-5375-455C-9EA6-DF929625EA0E}">
        <p15:presenceInfo xmlns:p15="http://schemas.microsoft.com/office/powerpoint/2012/main" userId="S::mark.fletcher@aalto.fi::077e57e2-a520-4563-a3bc-2ba09a7e9d5f" providerId="AD"/>
      </p:ext>
    </p:extLst>
  </p:cmAuthor>
  <p:cmAuthor id="2" name="Haikarainen Riikka" initials="HR" lastIdx="4" clrIdx="1">
    <p:extLst>
      <p:ext uri="{19B8F6BF-5375-455C-9EA6-DF929625EA0E}">
        <p15:presenceInfo xmlns:p15="http://schemas.microsoft.com/office/powerpoint/2012/main" userId="S::riikka.haikarainen@aalto.fi::d6a5f83e-2a54-4795-9f33-366efde645ef" providerId="AD"/>
      </p:ext>
    </p:extLst>
  </p:cmAuthor>
  <p:cmAuthor id="3" name="Allinson Matthew" initials="AM" lastIdx="7" clrIdx="2">
    <p:extLst>
      <p:ext uri="{19B8F6BF-5375-455C-9EA6-DF929625EA0E}">
        <p15:presenceInfo xmlns:p15="http://schemas.microsoft.com/office/powerpoint/2012/main" userId="S::matthew.allison@aalto.fi::c2a09765-e377-4e82-9e7f-14cbfbfe30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99D92F4-F9F7-0DDD-3BF1-13CDF78A1FCC}" v="1" dt="2020-01-07T14:58:01.245"/>
    <p1510:client id="{5650803B-E574-9144-8051-E0704EFB5035}" v="172" dt="2019-12-12T11:55:27.498"/>
    <p1510:client id="{A6CC7FC4-7C31-46B1-9355-3170D0808012}" v="15" dt="2019-12-12T11:36:07.31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ikarainen Riikka" userId="S::riikka.haikarainen@aalto.fi::d6a5f83e-2a54-4795-9f33-366efde645ef" providerId="AD" clId="Web-{05D8C27D-AA17-F72F-01C6-F176588D3DC4}"/>
    <pc:docChg chg="modSld">
      <pc:chgData name="Haikarainen Riikka" userId="S::riikka.haikarainen@aalto.fi::d6a5f83e-2a54-4795-9f33-366efde645ef" providerId="AD" clId="Web-{05D8C27D-AA17-F72F-01C6-F176588D3DC4}" dt="2019-12-04T15:25:21.143" v="33" actId="20577"/>
      <pc:docMkLst>
        <pc:docMk/>
      </pc:docMkLst>
    </pc:docChg>
  </pc:docChgLst>
  <pc:docChgLst>
    <pc:chgData name="Haikarainen Riikka" userId="S::riikka.haikarainen@aalto.fi::d6a5f83e-2a54-4795-9f33-366efde645ef" providerId="AD" clId="Web-{71D528E7-9143-B1BF-26E0-EAB3AA55CA45}"/>
    <pc:docChg chg="modSld">
      <pc:chgData name="Haikarainen Riikka" userId="S::riikka.haikarainen@aalto.fi::d6a5f83e-2a54-4795-9f33-366efde645ef" providerId="AD" clId="Web-{71D528E7-9143-B1BF-26E0-EAB3AA55CA45}" dt="2019-12-11T11:43:30.813" v="65" actId="20577"/>
      <pc:docMkLst>
        <pc:docMk/>
      </pc:docMkLst>
      <pc:sldChg chg="modSp">
        <pc:chgData name="Haikarainen Riikka" userId="S::riikka.haikarainen@aalto.fi::d6a5f83e-2a54-4795-9f33-366efde645ef" providerId="AD" clId="Web-{71D528E7-9143-B1BF-26E0-EAB3AA55CA45}" dt="2019-12-11T11:43:30.813" v="64" actId="20577"/>
        <pc:sldMkLst>
          <pc:docMk/>
          <pc:sldMk cId="453908600" sldId="264"/>
        </pc:sldMkLst>
        <pc:spChg chg="mod">
          <ac:chgData name="Haikarainen Riikka" userId="S::riikka.haikarainen@aalto.fi::d6a5f83e-2a54-4795-9f33-366efde645ef" providerId="AD" clId="Web-{71D528E7-9143-B1BF-26E0-EAB3AA55CA45}" dt="2019-12-11T11:43:30.813" v="64" actId="20577"/>
          <ac:spMkLst>
            <pc:docMk/>
            <pc:sldMk cId="453908600" sldId="264"/>
            <ac:spMk id="114" creationId="{00000000-0000-0000-0000-000000000000}"/>
          </ac:spMkLst>
        </pc:spChg>
      </pc:sldChg>
    </pc:docChg>
  </pc:docChgLst>
  <pc:docChgLst>
    <pc:chgData name="Lewis David" userId="S::david.lewis@aalto.fi::9bae3d31-b5d1-47e3-8b2b-9bb3b57496a6" providerId="AD" clId="Web-{9FAB1B74-F9A0-1AB0-1ECE-F6C8F082129E}"/>
    <pc:docChg chg="addSld delSld">
      <pc:chgData name="Lewis David" userId="S::david.lewis@aalto.fi::9bae3d31-b5d1-47e3-8b2b-9bb3b57496a6" providerId="AD" clId="Web-{9FAB1B74-F9A0-1AB0-1ECE-F6C8F082129E}" dt="2019-12-09T14:40:32.039" v="1"/>
      <pc:docMkLst>
        <pc:docMk/>
      </pc:docMkLst>
      <pc:sldChg chg="add replId">
        <pc:chgData name="Lewis David" userId="S::david.lewis@aalto.fi::9bae3d31-b5d1-47e3-8b2b-9bb3b57496a6" providerId="AD" clId="Web-{9FAB1B74-F9A0-1AB0-1ECE-F6C8F082129E}" dt="2019-12-09T14:40:31.164" v="0"/>
        <pc:sldMkLst>
          <pc:docMk/>
          <pc:sldMk cId="1995551173" sldId="291"/>
        </pc:sldMkLst>
      </pc:sldChg>
    </pc:docChg>
  </pc:docChgLst>
  <pc:docChgLst>
    <pc:chgData name="Haikarainen Riikka" userId="S::riikka.haikarainen@aalto.fi::d6a5f83e-2a54-4795-9f33-366efde645ef" providerId="AD" clId="Web-{411C9EEE-D974-2424-158A-0C8B2D08DA54}"/>
    <pc:docChg chg="modSld">
      <pc:chgData name="Haikarainen Riikka" userId="S::riikka.haikarainen@aalto.fi::d6a5f83e-2a54-4795-9f33-366efde645ef" providerId="AD" clId="Web-{411C9EEE-D974-2424-158A-0C8B2D08DA54}" dt="2019-12-05T12:24:26.605" v="5" actId="20577"/>
      <pc:docMkLst>
        <pc:docMk/>
      </pc:docMkLst>
      <pc:sldChg chg="modSp">
        <pc:chgData name="Haikarainen Riikka" userId="S::riikka.haikarainen@aalto.fi::d6a5f83e-2a54-4795-9f33-366efde645ef" providerId="AD" clId="Web-{411C9EEE-D974-2424-158A-0C8B2D08DA54}" dt="2019-12-05T12:24:22.964" v="3" actId="20577"/>
        <pc:sldMkLst>
          <pc:docMk/>
          <pc:sldMk cId="398451337" sldId="272"/>
        </pc:sldMkLst>
        <pc:spChg chg="mod">
          <ac:chgData name="Haikarainen Riikka" userId="S::riikka.haikarainen@aalto.fi::d6a5f83e-2a54-4795-9f33-366efde645ef" providerId="AD" clId="Web-{411C9EEE-D974-2424-158A-0C8B2D08DA54}" dt="2019-12-05T12:24:22.964" v="3" actId="20577"/>
          <ac:spMkLst>
            <pc:docMk/>
            <pc:sldMk cId="398451337" sldId="272"/>
            <ac:spMk id="168" creationId="{00000000-0000-0000-0000-000000000000}"/>
          </ac:spMkLst>
        </pc:spChg>
      </pc:sldChg>
      <pc:sldChg chg="modSp">
        <pc:chgData name="Haikarainen Riikka" userId="S::riikka.haikarainen@aalto.fi::d6a5f83e-2a54-4795-9f33-366efde645ef" providerId="AD" clId="Web-{411C9EEE-D974-2424-158A-0C8B2D08DA54}" dt="2019-12-05T12:24:12.386" v="0" actId="20577"/>
        <pc:sldMkLst>
          <pc:docMk/>
          <pc:sldMk cId="1400327765" sldId="278"/>
        </pc:sldMkLst>
        <pc:spChg chg="mod">
          <ac:chgData name="Haikarainen Riikka" userId="S::riikka.haikarainen@aalto.fi::d6a5f83e-2a54-4795-9f33-366efde645ef" providerId="AD" clId="Web-{411C9EEE-D974-2424-158A-0C8B2D08DA54}" dt="2019-12-05T12:24:12.386" v="0" actId="20577"/>
          <ac:spMkLst>
            <pc:docMk/>
            <pc:sldMk cId="1400327765" sldId="278"/>
            <ac:spMk id="2" creationId="{7583A8E6-390D-4C3E-B057-FBDE008282C0}"/>
          </ac:spMkLst>
        </pc:spChg>
      </pc:sldChg>
    </pc:docChg>
  </pc:docChgLst>
  <pc:docChgLst>
    <pc:chgData name="Salavuo Jaakko" userId="S::jaakko.salavuo@aalto.fi::15bf0814-e802-402f-8e38-048ec7cb7e72" providerId="AD" clId="Web-{CD12CD68-06DA-4EC5-AADA-BC9763FED843}"/>
    <pc:docChg chg="modSld">
      <pc:chgData name="Salavuo Jaakko" userId="S::jaakko.salavuo@aalto.fi::15bf0814-e802-402f-8e38-048ec7cb7e72" providerId="AD" clId="Web-{CD12CD68-06DA-4EC5-AADA-BC9763FED843}" dt="2019-12-10T07:10:31.981" v="5" actId="20577"/>
      <pc:docMkLst>
        <pc:docMk/>
      </pc:docMkLst>
      <pc:sldChg chg="modSp">
        <pc:chgData name="Salavuo Jaakko" userId="S::jaakko.salavuo@aalto.fi::15bf0814-e802-402f-8e38-048ec7cb7e72" providerId="AD" clId="Web-{CD12CD68-06DA-4EC5-AADA-BC9763FED843}" dt="2019-12-10T07:10:31.981" v="4" actId="20577"/>
        <pc:sldMkLst>
          <pc:docMk/>
          <pc:sldMk cId="232036368" sldId="265"/>
        </pc:sldMkLst>
        <pc:spChg chg="mod">
          <ac:chgData name="Salavuo Jaakko" userId="S::jaakko.salavuo@aalto.fi::15bf0814-e802-402f-8e38-048ec7cb7e72" providerId="AD" clId="Web-{CD12CD68-06DA-4EC5-AADA-BC9763FED843}" dt="2019-12-10T07:10:31.981" v="4" actId="20577"/>
          <ac:spMkLst>
            <pc:docMk/>
            <pc:sldMk cId="232036368" sldId="265"/>
            <ac:spMk id="119" creationId="{00000000-0000-0000-0000-000000000000}"/>
          </ac:spMkLst>
        </pc:spChg>
      </pc:sldChg>
    </pc:docChg>
  </pc:docChgLst>
  <pc:docChgLst>
    <pc:chgData name="Haikarainen Riikka" userId="S::riikka.haikarainen@aalto.fi::d6a5f83e-2a54-4795-9f33-366efde645ef" providerId="AD" clId="Web-{24C7F4E5-81EF-49D5-D8E8-B908528F291B}"/>
    <pc:docChg chg="modSld">
      <pc:chgData name="Haikarainen Riikka" userId="S::riikka.haikarainen@aalto.fi::d6a5f83e-2a54-4795-9f33-366efde645ef" providerId="AD" clId="Web-{24C7F4E5-81EF-49D5-D8E8-B908528F291B}" dt="2019-12-04T15:16:28.524" v="14" actId="20577"/>
      <pc:docMkLst>
        <pc:docMk/>
      </pc:docMkLst>
      <pc:sldChg chg="modSp">
        <pc:chgData name="Haikarainen Riikka" userId="S::riikka.haikarainen@aalto.fi::d6a5f83e-2a54-4795-9f33-366efde645ef" providerId="AD" clId="Web-{24C7F4E5-81EF-49D5-D8E8-B908528F291B}" dt="2019-12-04T15:15:51.993" v="6" actId="20577"/>
        <pc:sldMkLst>
          <pc:docMk/>
          <pc:sldMk cId="3892277697" sldId="271"/>
        </pc:sldMkLst>
        <pc:spChg chg="mod">
          <ac:chgData name="Haikarainen Riikka" userId="S::riikka.haikarainen@aalto.fi::d6a5f83e-2a54-4795-9f33-366efde645ef" providerId="AD" clId="Web-{24C7F4E5-81EF-49D5-D8E8-B908528F291B}" dt="2019-12-04T15:15:51.993" v="6" actId="20577"/>
          <ac:spMkLst>
            <pc:docMk/>
            <pc:sldMk cId="3892277697" sldId="271"/>
            <ac:spMk id="168" creationId="{00000000-0000-0000-0000-000000000000}"/>
          </ac:spMkLst>
        </pc:spChg>
      </pc:sldChg>
      <pc:sldChg chg="modSp">
        <pc:chgData name="Haikarainen Riikka" userId="S::riikka.haikarainen@aalto.fi::d6a5f83e-2a54-4795-9f33-366efde645ef" providerId="AD" clId="Web-{24C7F4E5-81EF-49D5-D8E8-B908528F291B}" dt="2019-12-04T15:15:59.133" v="9" actId="20577"/>
        <pc:sldMkLst>
          <pc:docMk/>
          <pc:sldMk cId="398451337" sldId="272"/>
        </pc:sldMkLst>
        <pc:spChg chg="mod">
          <ac:chgData name="Haikarainen Riikka" userId="S::riikka.haikarainen@aalto.fi::d6a5f83e-2a54-4795-9f33-366efde645ef" providerId="AD" clId="Web-{24C7F4E5-81EF-49D5-D8E8-B908528F291B}" dt="2019-12-04T15:15:59.133" v="9" actId="20577"/>
          <ac:spMkLst>
            <pc:docMk/>
            <pc:sldMk cId="398451337" sldId="272"/>
            <ac:spMk id="168" creationId="{00000000-0000-0000-0000-000000000000}"/>
          </ac:spMkLst>
        </pc:spChg>
      </pc:sldChg>
      <pc:sldChg chg="modSp">
        <pc:chgData name="Haikarainen Riikka" userId="S::riikka.haikarainen@aalto.fi::d6a5f83e-2a54-4795-9f33-366efde645ef" providerId="AD" clId="Web-{24C7F4E5-81EF-49D5-D8E8-B908528F291B}" dt="2019-12-04T15:16:24.430" v="12" actId="20577"/>
        <pc:sldMkLst>
          <pc:docMk/>
          <pc:sldMk cId="1400327765" sldId="278"/>
        </pc:sldMkLst>
        <pc:spChg chg="mod">
          <ac:chgData name="Haikarainen Riikka" userId="S::riikka.haikarainen@aalto.fi::d6a5f83e-2a54-4795-9f33-366efde645ef" providerId="AD" clId="Web-{24C7F4E5-81EF-49D5-D8E8-B908528F291B}" dt="2019-12-04T15:16:24.430" v="12" actId="20577"/>
          <ac:spMkLst>
            <pc:docMk/>
            <pc:sldMk cId="1400327765" sldId="278"/>
            <ac:spMk id="2" creationId="{7583A8E6-390D-4C3E-B057-FBDE008282C0}"/>
          </ac:spMkLst>
        </pc:spChg>
      </pc:sldChg>
    </pc:docChg>
  </pc:docChgLst>
  <pc:docChgLst>
    <pc:chgData name="Lewis David" userId="9bae3d31-b5d1-47e3-8b2b-9bb3b57496a6" providerId="ADAL" clId="{5650803B-E574-9144-8051-E0704EFB5035}"/>
    <pc:docChg chg="undo custSel addSld delSld modSld">
      <pc:chgData name="Lewis David" userId="9bae3d31-b5d1-47e3-8b2b-9bb3b57496a6" providerId="ADAL" clId="{5650803B-E574-9144-8051-E0704EFB5035}" dt="2019-12-12T11:55:27.498" v="282" actId="1076"/>
      <pc:docMkLst>
        <pc:docMk/>
      </pc:docMkLst>
      <pc:sldChg chg="addSp delSp modSp">
        <pc:chgData name="Lewis David" userId="9bae3d31-b5d1-47e3-8b2b-9bb3b57496a6" providerId="ADAL" clId="{5650803B-E574-9144-8051-E0704EFB5035}" dt="2019-12-12T11:51:13.833" v="280" actId="1076"/>
        <pc:sldMkLst>
          <pc:docMk/>
          <pc:sldMk cId="2264251957" sldId="263"/>
        </pc:sldMkLst>
        <pc:spChg chg="add del">
          <ac:chgData name="Lewis David" userId="9bae3d31-b5d1-47e3-8b2b-9bb3b57496a6" providerId="ADAL" clId="{5650803B-E574-9144-8051-E0704EFB5035}" dt="2019-12-09T14:15:16.309" v="174"/>
          <ac:spMkLst>
            <pc:docMk/>
            <pc:sldMk cId="2264251957" sldId="263"/>
            <ac:spMk id="12" creationId="{12F44C68-05CC-0D4C-9E34-557FB850D3FE}"/>
          </ac:spMkLst>
        </pc:spChg>
        <pc:spChg chg="add">
          <ac:chgData name="Lewis David" userId="9bae3d31-b5d1-47e3-8b2b-9bb3b57496a6" providerId="ADAL" clId="{5650803B-E574-9144-8051-E0704EFB5035}" dt="2019-12-11T14:42:59.340" v="278"/>
          <ac:spMkLst>
            <pc:docMk/>
            <pc:sldMk cId="2264251957" sldId="263"/>
            <ac:spMk id="20" creationId="{9DD0B466-165E-8744-B8F7-CB3AFFFA1FAC}"/>
          </ac:spMkLst>
        </pc:spChg>
        <pc:spChg chg="add">
          <ac:chgData name="Lewis David" userId="9bae3d31-b5d1-47e3-8b2b-9bb3b57496a6" providerId="ADAL" clId="{5650803B-E574-9144-8051-E0704EFB5035}" dt="2019-12-11T14:42:59.340" v="278"/>
          <ac:spMkLst>
            <pc:docMk/>
            <pc:sldMk cId="2264251957" sldId="263"/>
            <ac:spMk id="21" creationId="{F0C78349-34FA-3A4E-B89C-EF7729DE71EB}"/>
          </ac:spMkLst>
        </pc:spChg>
        <pc:spChg chg="add">
          <ac:chgData name="Lewis David" userId="9bae3d31-b5d1-47e3-8b2b-9bb3b57496a6" providerId="ADAL" clId="{5650803B-E574-9144-8051-E0704EFB5035}" dt="2019-12-11T14:42:59.340" v="278"/>
          <ac:spMkLst>
            <pc:docMk/>
            <pc:sldMk cId="2264251957" sldId="263"/>
            <ac:spMk id="22" creationId="{FAF7B17A-3DF7-D44B-B5D7-72F833DAFB9E}"/>
          </ac:spMkLst>
        </pc:spChg>
        <pc:spChg chg="add">
          <ac:chgData name="Lewis David" userId="9bae3d31-b5d1-47e3-8b2b-9bb3b57496a6" providerId="ADAL" clId="{5650803B-E574-9144-8051-E0704EFB5035}" dt="2019-12-11T14:42:59.340" v="278"/>
          <ac:spMkLst>
            <pc:docMk/>
            <pc:sldMk cId="2264251957" sldId="263"/>
            <ac:spMk id="23" creationId="{F985580E-FE38-7542-82F8-A4CC413E010C}"/>
          </ac:spMkLst>
        </pc:spChg>
        <pc:spChg chg="mod">
          <ac:chgData name="Lewis David" userId="9bae3d31-b5d1-47e3-8b2b-9bb3b57496a6" providerId="ADAL" clId="{5650803B-E574-9144-8051-E0704EFB5035}" dt="2019-12-09T14:15:25.854" v="177" actId="1076"/>
          <ac:spMkLst>
            <pc:docMk/>
            <pc:sldMk cId="2264251957" sldId="263"/>
            <ac:spMk id="114" creationId="{00000000-0000-0000-0000-000000000000}"/>
          </ac:spMkLst>
        </pc:spChg>
        <pc:spChg chg="mod">
          <ac:chgData name="Lewis David" userId="9bae3d31-b5d1-47e3-8b2b-9bb3b57496a6" providerId="ADAL" clId="{5650803B-E574-9144-8051-E0704EFB5035}" dt="2019-12-09T14:15:36.748" v="179" actId="1076"/>
          <ac:spMkLst>
            <pc:docMk/>
            <pc:sldMk cId="2264251957" sldId="263"/>
            <ac:spMk id="115" creationId="{00000000-0000-0000-0000-000000000000}"/>
          </ac:spMkLst>
        </pc:spChg>
        <pc:grpChg chg="del mod">
          <ac:chgData name="Lewis David" userId="9bae3d31-b5d1-47e3-8b2b-9bb3b57496a6" providerId="ADAL" clId="{5650803B-E574-9144-8051-E0704EFB5035}" dt="2019-12-11T14:42:35.301" v="276" actId="478"/>
          <ac:grpSpMkLst>
            <pc:docMk/>
            <pc:sldMk cId="2264251957" sldId="263"/>
            <ac:grpSpMk id="14" creationId="{1ADF7973-2675-E544-9DC7-A3A3515DF3AB}"/>
          </ac:grpSpMkLst>
        </pc:grpChg>
        <pc:picChg chg="add mod">
          <ac:chgData name="Lewis David" userId="9bae3d31-b5d1-47e3-8b2b-9bb3b57496a6" providerId="ADAL" clId="{5650803B-E574-9144-8051-E0704EFB5035}" dt="2019-12-12T11:51:13.833" v="280" actId="1076"/>
          <ac:picMkLst>
            <pc:docMk/>
            <pc:sldMk cId="2264251957" sldId="263"/>
            <ac:picMk id="12" creationId="{6361F916-8E0D-7C40-BAD3-B9186DD580C1}"/>
          </ac:picMkLst>
        </pc:picChg>
      </pc:sldChg>
      <pc:sldChg chg="modSp">
        <pc:chgData name="Lewis David" userId="9bae3d31-b5d1-47e3-8b2b-9bb3b57496a6" providerId="ADAL" clId="{5650803B-E574-9144-8051-E0704EFB5035}" dt="2019-12-09T14:15:51.416" v="180" actId="1076"/>
        <pc:sldMkLst>
          <pc:docMk/>
          <pc:sldMk cId="453908600" sldId="264"/>
        </pc:sldMkLst>
        <pc:spChg chg="mod">
          <ac:chgData name="Lewis David" userId="9bae3d31-b5d1-47e3-8b2b-9bb3b57496a6" providerId="ADAL" clId="{5650803B-E574-9144-8051-E0704EFB5035}" dt="2019-12-09T14:15:51.416" v="180" actId="1076"/>
          <ac:spMkLst>
            <pc:docMk/>
            <pc:sldMk cId="453908600" sldId="264"/>
            <ac:spMk id="114" creationId="{00000000-0000-0000-0000-000000000000}"/>
          </ac:spMkLst>
        </pc:spChg>
      </pc:sldChg>
      <pc:sldChg chg="addSp delSp">
        <pc:chgData name="Lewis David" userId="9bae3d31-b5d1-47e3-8b2b-9bb3b57496a6" providerId="ADAL" clId="{5650803B-E574-9144-8051-E0704EFB5035}" dt="2019-12-09T11:45:48.699" v="1"/>
        <pc:sldMkLst>
          <pc:docMk/>
          <pc:sldMk cId="232036368" sldId="265"/>
        </pc:sldMkLst>
        <pc:picChg chg="add">
          <ac:chgData name="Lewis David" userId="9bae3d31-b5d1-47e3-8b2b-9bb3b57496a6" providerId="ADAL" clId="{5650803B-E574-9144-8051-E0704EFB5035}" dt="2019-12-09T11:45:48.699" v="1"/>
          <ac:picMkLst>
            <pc:docMk/>
            <pc:sldMk cId="232036368" sldId="265"/>
            <ac:picMk id="6" creationId="{8512015A-C199-7942-8D51-8729349AB9FC}"/>
          </ac:picMkLst>
        </pc:picChg>
        <pc:picChg chg="del">
          <ac:chgData name="Lewis David" userId="9bae3d31-b5d1-47e3-8b2b-9bb3b57496a6" providerId="ADAL" clId="{5650803B-E574-9144-8051-E0704EFB5035}" dt="2019-12-09T11:45:48.266" v="0" actId="478"/>
          <ac:picMkLst>
            <pc:docMk/>
            <pc:sldMk cId="232036368" sldId="265"/>
            <ac:picMk id="118" creationId="{00000000-0000-0000-0000-000000000000}"/>
          </ac:picMkLst>
        </pc:picChg>
      </pc:sldChg>
      <pc:sldChg chg="addSp delSp modSp">
        <pc:chgData name="Lewis David" userId="9bae3d31-b5d1-47e3-8b2b-9bb3b57496a6" providerId="ADAL" clId="{5650803B-E574-9144-8051-E0704EFB5035}" dt="2019-12-11T12:09:57.461" v="275" actId="113"/>
        <pc:sldMkLst>
          <pc:docMk/>
          <pc:sldMk cId="2516545345" sldId="270"/>
        </pc:sldMkLst>
        <pc:spChg chg="mod">
          <ac:chgData name="Lewis David" userId="9bae3d31-b5d1-47e3-8b2b-9bb3b57496a6" providerId="ADAL" clId="{5650803B-E574-9144-8051-E0704EFB5035}" dt="2019-12-11T12:09:57.461" v="275" actId="113"/>
          <ac:spMkLst>
            <pc:docMk/>
            <pc:sldMk cId="2516545345" sldId="270"/>
            <ac:spMk id="168" creationId="{00000000-0000-0000-0000-000000000000}"/>
          </ac:spMkLst>
        </pc:spChg>
        <pc:spChg chg="mod">
          <ac:chgData name="Lewis David" userId="9bae3d31-b5d1-47e3-8b2b-9bb3b57496a6" providerId="ADAL" clId="{5650803B-E574-9144-8051-E0704EFB5035}" dt="2019-12-09T11:53:11.691" v="71" actId="1076"/>
          <ac:spMkLst>
            <pc:docMk/>
            <pc:sldMk cId="2516545345" sldId="270"/>
            <ac:spMk id="169" creationId="{00000000-0000-0000-0000-000000000000}"/>
          </ac:spMkLst>
        </pc:spChg>
        <pc:cxnChg chg="del">
          <ac:chgData name="Lewis David" userId="9bae3d31-b5d1-47e3-8b2b-9bb3b57496a6" providerId="ADAL" clId="{5650803B-E574-9144-8051-E0704EFB5035}" dt="2019-12-09T11:46:05.759" v="2" actId="478"/>
          <ac:cxnSpMkLst>
            <pc:docMk/>
            <pc:sldMk cId="2516545345" sldId="270"/>
            <ac:cxnSpMk id="8" creationId="{2DBA8899-96F5-7B44-ABC1-11D212901E6C}"/>
          </ac:cxnSpMkLst>
        </pc:cxnChg>
        <pc:cxnChg chg="add mod">
          <ac:chgData name="Lewis David" userId="9bae3d31-b5d1-47e3-8b2b-9bb3b57496a6" providerId="ADAL" clId="{5650803B-E574-9144-8051-E0704EFB5035}" dt="2019-12-09T11:53:19.541" v="73" actId="1076"/>
          <ac:cxnSpMkLst>
            <pc:docMk/>
            <pc:sldMk cId="2516545345" sldId="270"/>
            <ac:cxnSpMk id="12" creationId="{7CE831CA-9698-684F-B0E1-3A1BCC51E680}"/>
          </ac:cxnSpMkLst>
        </pc:cxnChg>
      </pc:sldChg>
      <pc:sldChg chg="addSp delSp modSp">
        <pc:chgData name="Lewis David" userId="9bae3d31-b5d1-47e3-8b2b-9bb3b57496a6" providerId="ADAL" clId="{5650803B-E574-9144-8051-E0704EFB5035}" dt="2019-12-11T12:09:46.726" v="274" actId="113"/>
        <pc:sldMkLst>
          <pc:docMk/>
          <pc:sldMk cId="3892277697" sldId="271"/>
        </pc:sldMkLst>
        <pc:spChg chg="mod">
          <ac:chgData name="Lewis David" userId="9bae3d31-b5d1-47e3-8b2b-9bb3b57496a6" providerId="ADAL" clId="{5650803B-E574-9144-8051-E0704EFB5035}" dt="2019-12-11T12:09:46.726" v="274" actId="113"/>
          <ac:spMkLst>
            <pc:docMk/>
            <pc:sldMk cId="3892277697" sldId="271"/>
            <ac:spMk id="168" creationId="{00000000-0000-0000-0000-000000000000}"/>
          </ac:spMkLst>
        </pc:spChg>
        <pc:spChg chg="mod">
          <ac:chgData name="Lewis David" userId="9bae3d31-b5d1-47e3-8b2b-9bb3b57496a6" providerId="ADAL" clId="{5650803B-E574-9144-8051-E0704EFB5035}" dt="2019-12-09T11:59:43.065" v="100" actId="1076"/>
          <ac:spMkLst>
            <pc:docMk/>
            <pc:sldMk cId="3892277697" sldId="271"/>
            <ac:spMk id="169" creationId="{00000000-0000-0000-0000-000000000000}"/>
          </ac:spMkLst>
        </pc:spChg>
        <pc:picChg chg="add del mod modCrop">
          <ac:chgData name="Lewis David" userId="9bae3d31-b5d1-47e3-8b2b-9bb3b57496a6" providerId="ADAL" clId="{5650803B-E574-9144-8051-E0704EFB5035}" dt="2019-12-10T13:43:22.838" v="259" actId="732"/>
          <ac:picMkLst>
            <pc:docMk/>
            <pc:sldMk cId="3892277697" sldId="271"/>
            <ac:picMk id="4" creationId="{B6062228-F4F7-5640-B2B5-23E98B0E4811}"/>
          </ac:picMkLst>
        </pc:picChg>
        <pc:picChg chg="add del mod modCrop">
          <ac:chgData name="Lewis David" userId="9bae3d31-b5d1-47e3-8b2b-9bb3b57496a6" providerId="ADAL" clId="{5650803B-E574-9144-8051-E0704EFB5035}" dt="2019-12-09T11:48:35.848" v="27" actId="478"/>
          <ac:picMkLst>
            <pc:docMk/>
            <pc:sldMk cId="3892277697" sldId="271"/>
            <ac:picMk id="10" creationId="{CF5B7F0E-E838-0B4E-84A2-E9659109D013}"/>
          </ac:picMkLst>
        </pc:picChg>
        <pc:picChg chg="del">
          <ac:chgData name="Lewis David" userId="9bae3d31-b5d1-47e3-8b2b-9bb3b57496a6" providerId="ADAL" clId="{5650803B-E574-9144-8051-E0704EFB5035}" dt="2019-12-09T11:48:37.209" v="28" actId="478"/>
          <ac:picMkLst>
            <pc:docMk/>
            <pc:sldMk cId="3892277697" sldId="271"/>
            <ac:picMk id="11" creationId="{2EC096A6-950D-144A-B2EF-2B9AFE022FBE}"/>
          </ac:picMkLst>
        </pc:picChg>
        <pc:picChg chg="add del mod modCrop">
          <ac:chgData name="Lewis David" userId="9bae3d31-b5d1-47e3-8b2b-9bb3b57496a6" providerId="ADAL" clId="{5650803B-E574-9144-8051-E0704EFB5035}" dt="2019-12-10T13:42:28.861" v="249" actId="478"/>
          <ac:picMkLst>
            <pc:docMk/>
            <pc:sldMk cId="3892277697" sldId="271"/>
            <ac:picMk id="12" creationId="{D790943D-84E1-134A-A57A-21F4837357BF}"/>
          </ac:picMkLst>
        </pc:picChg>
        <pc:cxnChg chg="del">
          <ac:chgData name="Lewis David" userId="9bae3d31-b5d1-47e3-8b2b-9bb3b57496a6" providerId="ADAL" clId="{5650803B-E574-9144-8051-E0704EFB5035}" dt="2019-12-09T11:46:14.771" v="4" actId="478"/>
          <ac:cxnSpMkLst>
            <pc:docMk/>
            <pc:sldMk cId="3892277697" sldId="271"/>
            <ac:cxnSpMk id="8" creationId="{2C7D7A62-1F65-F342-B6B7-D0F7F07702CE}"/>
          </ac:cxnSpMkLst>
        </pc:cxnChg>
        <pc:cxnChg chg="add mod">
          <ac:chgData name="Lewis David" userId="9bae3d31-b5d1-47e3-8b2b-9bb3b57496a6" providerId="ADAL" clId="{5650803B-E574-9144-8051-E0704EFB5035}" dt="2019-12-09T11:59:51.443" v="103" actId="1076"/>
          <ac:cxnSpMkLst>
            <pc:docMk/>
            <pc:sldMk cId="3892277697" sldId="271"/>
            <ac:cxnSpMk id="9" creationId="{D0E82BCD-CEBB-4A4F-A2C9-B7950D2A1564}"/>
          </ac:cxnSpMkLst>
        </pc:cxnChg>
      </pc:sldChg>
      <pc:sldChg chg="addSp delSp modSp">
        <pc:chgData name="Lewis David" userId="9bae3d31-b5d1-47e3-8b2b-9bb3b57496a6" providerId="ADAL" clId="{5650803B-E574-9144-8051-E0704EFB5035}" dt="2019-12-12T11:55:27.498" v="282" actId="1076"/>
        <pc:sldMkLst>
          <pc:docMk/>
          <pc:sldMk cId="398451337" sldId="272"/>
        </pc:sldMkLst>
        <pc:spChg chg="mod">
          <ac:chgData name="Lewis David" userId="9bae3d31-b5d1-47e3-8b2b-9bb3b57496a6" providerId="ADAL" clId="{5650803B-E574-9144-8051-E0704EFB5035}" dt="2019-12-11T12:09:36.186" v="272" actId="113"/>
          <ac:spMkLst>
            <pc:docMk/>
            <pc:sldMk cId="398451337" sldId="272"/>
            <ac:spMk id="168" creationId="{00000000-0000-0000-0000-000000000000}"/>
          </ac:spMkLst>
        </pc:spChg>
        <pc:spChg chg="mod">
          <ac:chgData name="Lewis David" userId="9bae3d31-b5d1-47e3-8b2b-9bb3b57496a6" providerId="ADAL" clId="{5650803B-E574-9144-8051-E0704EFB5035}" dt="2019-12-09T11:53:36.625" v="76" actId="1076"/>
          <ac:spMkLst>
            <pc:docMk/>
            <pc:sldMk cId="398451337" sldId="272"/>
            <ac:spMk id="169" creationId="{00000000-0000-0000-0000-000000000000}"/>
          </ac:spMkLst>
        </pc:spChg>
        <pc:picChg chg="del mod">
          <ac:chgData name="Lewis David" userId="9bae3d31-b5d1-47e3-8b2b-9bb3b57496a6" providerId="ADAL" clId="{5650803B-E574-9144-8051-E0704EFB5035}" dt="2019-12-09T11:46:37.735" v="11" actId="478"/>
          <ac:picMkLst>
            <pc:docMk/>
            <pc:sldMk cId="398451337" sldId="272"/>
            <ac:picMk id="4" creationId="{46F273A5-0A27-6E43-85C0-A3953D4F708B}"/>
          </ac:picMkLst>
        </pc:picChg>
        <pc:picChg chg="add mod">
          <ac:chgData name="Lewis David" userId="9bae3d31-b5d1-47e3-8b2b-9bb3b57496a6" providerId="ADAL" clId="{5650803B-E574-9144-8051-E0704EFB5035}" dt="2019-12-12T11:55:27.498" v="282" actId="1076"/>
          <ac:picMkLst>
            <pc:docMk/>
            <pc:sldMk cId="398451337" sldId="272"/>
            <ac:picMk id="11" creationId="{BBBC4609-D3EC-DE47-9B36-D0DDC71D94BA}"/>
          </ac:picMkLst>
        </pc:picChg>
        <pc:cxnChg chg="del">
          <ac:chgData name="Lewis David" userId="9bae3d31-b5d1-47e3-8b2b-9bb3b57496a6" providerId="ADAL" clId="{5650803B-E574-9144-8051-E0704EFB5035}" dt="2019-12-09T11:46:22.439" v="7" actId="478"/>
          <ac:cxnSpMkLst>
            <pc:docMk/>
            <pc:sldMk cId="398451337" sldId="272"/>
            <ac:cxnSpMk id="9" creationId="{3E51E68E-AFCD-554A-94B5-37D36165D16C}"/>
          </ac:cxnSpMkLst>
        </pc:cxnChg>
        <pc:cxnChg chg="add mod">
          <ac:chgData name="Lewis David" userId="9bae3d31-b5d1-47e3-8b2b-9bb3b57496a6" providerId="ADAL" clId="{5650803B-E574-9144-8051-E0704EFB5035}" dt="2019-12-09T11:53:39.257" v="77" actId="1076"/>
          <ac:cxnSpMkLst>
            <pc:docMk/>
            <pc:sldMk cId="398451337" sldId="272"/>
            <ac:cxnSpMk id="10" creationId="{5E21298C-EC68-404A-8523-334B516DC852}"/>
          </ac:cxnSpMkLst>
        </pc:cxnChg>
      </pc:sldChg>
      <pc:sldChg chg="addSp delSp modSp">
        <pc:chgData name="Lewis David" userId="9bae3d31-b5d1-47e3-8b2b-9bb3b57496a6" providerId="ADAL" clId="{5650803B-E574-9144-8051-E0704EFB5035}" dt="2019-12-11T12:09:22.875" v="271" actId="113"/>
        <pc:sldMkLst>
          <pc:docMk/>
          <pc:sldMk cId="2725358764" sldId="274"/>
        </pc:sldMkLst>
        <pc:spChg chg="mod">
          <ac:chgData name="Lewis David" userId="9bae3d31-b5d1-47e3-8b2b-9bb3b57496a6" providerId="ADAL" clId="{5650803B-E574-9144-8051-E0704EFB5035}" dt="2019-12-11T12:09:22.875" v="271" actId="113"/>
          <ac:spMkLst>
            <pc:docMk/>
            <pc:sldMk cId="2725358764" sldId="274"/>
            <ac:spMk id="2" creationId="{7583A8E6-390D-4C3E-B057-FBDE008282C0}"/>
          </ac:spMkLst>
        </pc:spChg>
        <pc:spChg chg="mod">
          <ac:chgData name="Lewis David" userId="9bae3d31-b5d1-47e3-8b2b-9bb3b57496a6" providerId="ADAL" clId="{5650803B-E574-9144-8051-E0704EFB5035}" dt="2019-12-09T14:21:17.196" v="236" actId="1076"/>
          <ac:spMkLst>
            <pc:docMk/>
            <pc:sldMk cId="2725358764" sldId="274"/>
            <ac:spMk id="13" creationId="{DE696618-7266-634E-8768-14A770DFA45D}"/>
          </ac:spMkLst>
        </pc:spChg>
        <pc:spChg chg="mod">
          <ac:chgData name="Lewis David" userId="9bae3d31-b5d1-47e3-8b2b-9bb3b57496a6" providerId="ADAL" clId="{5650803B-E574-9144-8051-E0704EFB5035}" dt="2019-12-09T14:21:17.196" v="236" actId="1076"/>
          <ac:spMkLst>
            <pc:docMk/>
            <pc:sldMk cId="2725358764" sldId="274"/>
            <ac:spMk id="20" creationId="{B6E7163C-2DD5-5B46-BC6C-7869DA898CF4}"/>
          </ac:spMkLst>
        </pc:spChg>
        <pc:spChg chg="mod">
          <ac:chgData name="Lewis David" userId="9bae3d31-b5d1-47e3-8b2b-9bb3b57496a6" providerId="ADAL" clId="{5650803B-E574-9144-8051-E0704EFB5035}" dt="2019-12-09T14:21:17.196" v="236" actId="1076"/>
          <ac:spMkLst>
            <pc:docMk/>
            <pc:sldMk cId="2725358764" sldId="274"/>
            <ac:spMk id="22" creationId="{DA91DB9F-10F7-C84D-B9D7-114EFE129437}"/>
          </ac:spMkLst>
        </pc:spChg>
        <pc:spChg chg="mod">
          <ac:chgData name="Lewis David" userId="9bae3d31-b5d1-47e3-8b2b-9bb3b57496a6" providerId="ADAL" clId="{5650803B-E574-9144-8051-E0704EFB5035}" dt="2019-12-09T14:19:27.672" v="212" actId="207"/>
          <ac:spMkLst>
            <pc:docMk/>
            <pc:sldMk cId="2725358764" sldId="274"/>
            <ac:spMk id="251" creationId="{00000000-0000-0000-0000-000000000000}"/>
          </ac:spMkLst>
        </pc:spChg>
        <pc:spChg chg="mod">
          <ac:chgData name="Lewis David" userId="9bae3d31-b5d1-47e3-8b2b-9bb3b57496a6" providerId="ADAL" clId="{5650803B-E574-9144-8051-E0704EFB5035}" dt="2019-12-09T14:18:48.170" v="199" actId="207"/>
          <ac:spMkLst>
            <pc:docMk/>
            <pc:sldMk cId="2725358764" sldId="274"/>
            <ac:spMk id="252" creationId="{00000000-0000-0000-0000-000000000000}"/>
          </ac:spMkLst>
        </pc:spChg>
        <pc:spChg chg="mod">
          <ac:chgData name="Lewis David" userId="9bae3d31-b5d1-47e3-8b2b-9bb3b57496a6" providerId="ADAL" clId="{5650803B-E574-9144-8051-E0704EFB5035}" dt="2019-12-09T14:19:15.126" v="208" actId="207"/>
          <ac:spMkLst>
            <pc:docMk/>
            <pc:sldMk cId="2725358764" sldId="274"/>
            <ac:spMk id="253" creationId="{00000000-0000-0000-0000-000000000000}"/>
          </ac:spMkLst>
        </pc:spChg>
        <pc:picChg chg="add del">
          <ac:chgData name="Lewis David" userId="9bae3d31-b5d1-47e3-8b2b-9bb3b57496a6" providerId="ADAL" clId="{5650803B-E574-9144-8051-E0704EFB5035}" dt="2019-12-09T11:50:03.939" v="39" actId="478"/>
          <ac:picMkLst>
            <pc:docMk/>
            <pc:sldMk cId="2725358764" sldId="274"/>
            <ac:picMk id="3" creationId="{F6C7B086-15A6-FF4C-BBC1-84769BE90875}"/>
          </ac:picMkLst>
        </pc:picChg>
        <pc:picChg chg="add del mod">
          <ac:chgData name="Lewis David" userId="9bae3d31-b5d1-47e3-8b2b-9bb3b57496a6" providerId="ADAL" clId="{5650803B-E574-9144-8051-E0704EFB5035}" dt="2019-12-09T11:50:50.807" v="47" actId="478"/>
          <ac:picMkLst>
            <pc:docMk/>
            <pc:sldMk cId="2725358764" sldId="274"/>
            <ac:picMk id="4" creationId="{30B41449-648F-874A-97FB-C2258385240D}"/>
          </ac:picMkLst>
        </pc:picChg>
        <pc:picChg chg="del mod">
          <ac:chgData name="Lewis David" userId="9bae3d31-b5d1-47e3-8b2b-9bb3b57496a6" providerId="ADAL" clId="{5650803B-E574-9144-8051-E0704EFB5035}" dt="2019-12-09T12:05:56.994" v="113" actId="478"/>
          <ac:picMkLst>
            <pc:docMk/>
            <pc:sldMk cId="2725358764" sldId="274"/>
            <ac:picMk id="5" creationId="{A006C683-712A-B64D-B60A-B2E9B191052E}"/>
          </ac:picMkLst>
        </pc:picChg>
        <pc:picChg chg="add del mod">
          <ac:chgData name="Lewis David" userId="9bae3d31-b5d1-47e3-8b2b-9bb3b57496a6" providerId="ADAL" clId="{5650803B-E574-9144-8051-E0704EFB5035}" dt="2019-12-09T11:52:25.302" v="53" actId="478"/>
          <ac:picMkLst>
            <pc:docMk/>
            <pc:sldMk cId="2725358764" sldId="274"/>
            <ac:picMk id="6" creationId="{C353EECD-AA5E-E948-B582-7C734C169246}"/>
          </ac:picMkLst>
        </pc:picChg>
        <pc:picChg chg="add mod">
          <ac:chgData name="Lewis David" userId="9bae3d31-b5d1-47e3-8b2b-9bb3b57496a6" providerId="ADAL" clId="{5650803B-E574-9144-8051-E0704EFB5035}" dt="2019-12-09T14:42:39.533" v="240" actId="555"/>
          <ac:picMkLst>
            <pc:docMk/>
            <pc:sldMk cId="2725358764" sldId="274"/>
            <ac:picMk id="8" creationId="{DAF67A42-4B87-4748-BBD2-292D1BE30E7D}"/>
          </ac:picMkLst>
        </pc:picChg>
        <pc:picChg chg="add del">
          <ac:chgData name="Lewis David" userId="9bae3d31-b5d1-47e3-8b2b-9bb3b57496a6" providerId="ADAL" clId="{5650803B-E574-9144-8051-E0704EFB5035}" dt="2019-12-09T11:49:28.483" v="32"/>
          <ac:picMkLst>
            <pc:docMk/>
            <pc:sldMk cId="2725358764" sldId="274"/>
            <ac:picMk id="14" creationId="{B152D128-51EC-E448-8B75-3D4D02C2CBF1}"/>
          </ac:picMkLst>
        </pc:picChg>
        <pc:picChg chg="add del">
          <ac:chgData name="Lewis David" userId="9bae3d31-b5d1-47e3-8b2b-9bb3b57496a6" providerId="ADAL" clId="{5650803B-E574-9144-8051-E0704EFB5035}" dt="2019-12-09T11:49:56.008" v="36"/>
          <ac:picMkLst>
            <pc:docMk/>
            <pc:sldMk cId="2725358764" sldId="274"/>
            <ac:picMk id="15" creationId="{EC67A435-A1F1-9B40-943F-D349D736BFB0}"/>
          </ac:picMkLst>
        </pc:picChg>
        <pc:picChg chg="add del">
          <ac:chgData name="Lewis David" userId="9bae3d31-b5d1-47e3-8b2b-9bb3b57496a6" providerId="ADAL" clId="{5650803B-E574-9144-8051-E0704EFB5035}" dt="2019-12-09T11:50:03.052" v="38"/>
          <ac:picMkLst>
            <pc:docMk/>
            <pc:sldMk cId="2725358764" sldId="274"/>
            <ac:picMk id="16" creationId="{309044DD-0F07-1C48-976E-C816C7FE38CF}"/>
          </ac:picMkLst>
        </pc:picChg>
        <pc:picChg chg="add mod">
          <ac:chgData name="Lewis David" userId="9bae3d31-b5d1-47e3-8b2b-9bb3b57496a6" providerId="ADAL" clId="{5650803B-E574-9144-8051-E0704EFB5035}" dt="2019-12-09T14:42:39.533" v="240" actId="555"/>
          <ac:picMkLst>
            <pc:docMk/>
            <pc:sldMk cId="2725358764" sldId="274"/>
            <ac:picMk id="17" creationId="{0381CDF1-0D5C-B341-BE9D-36A0F25B1B37}"/>
          </ac:picMkLst>
        </pc:picChg>
        <pc:picChg chg="add mod">
          <ac:chgData name="Lewis David" userId="9bae3d31-b5d1-47e3-8b2b-9bb3b57496a6" providerId="ADAL" clId="{5650803B-E574-9144-8051-E0704EFB5035}" dt="2019-12-09T14:42:39.533" v="240" actId="555"/>
          <ac:picMkLst>
            <pc:docMk/>
            <pc:sldMk cId="2725358764" sldId="274"/>
            <ac:picMk id="19" creationId="{819B11A8-2D03-7348-BE84-9BFE1F132C27}"/>
          </ac:picMkLst>
        </pc:picChg>
        <pc:picChg chg="del">
          <ac:chgData name="Lewis David" userId="9bae3d31-b5d1-47e3-8b2b-9bb3b57496a6" providerId="ADAL" clId="{5650803B-E574-9144-8051-E0704EFB5035}" dt="2019-12-09T11:50:52.355" v="48" actId="478"/>
          <ac:picMkLst>
            <pc:docMk/>
            <pc:sldMk cId="2725358764" sldId="274"/>
            <ac:picMk id="21" creationId="{B8C0F9A6-D236-B740-B01F-283F6B9274EF}"/>
          </ac:picMkLst>
        </pc:picChg>
      </pc:sldChg>
      <pc:sldChg chg="addSp delSp">
        <pc:chgData name="Lewis David" userId="9bae3d31-b5d1-47e3-8b2b-9bb3b57496a6" providerId="ADAL" clId="{5650803B-E574-9144-8051-E0704EFB5035}" dt="2019-12-09T14:16:33.058" v="186" actId="478"/>
        <pc:sldMkLst>
          <pc:docMk/>
          <pc:sldMk cId="917494569" sldId="275"/>
        </pc:sldMkLst>
        <pc:picChg chg="add del">
          <ac:chgData name="Lewis David" userId="9bae3d31-b5d1-47e3-8b2b-9bb3b57496a6" providerId="ADAL" clId="{5650803B-E574-9144-8051-E0704EFB5035}" dt="2019-12-09T14:16:29.450" v="185"/>
          <ac:picMkLst>
            <pc:docMk/>
            <pc:sldMk cId="917494569" sldId="275"/>
            <ac:picMk id="2" creationId="{BE4B76AD-490A-D04A-8144-614893D2930C}"/>
          </ac:picMkLst>
        </pc:picChg>
        <pc:picChg chg="add del">
          <ac:chgData name="Lewis David" userId="9bae3d31-b5d1-47e3-8b2b-9bb3b57496a6" providerId="ADAL" clId="{5650803B-E574-9144-8051-E0704EFB5035}" dt="2019-12-09T14:16:33.058" v="186" actId="478"/>
          <ac:picMkLst>
            <pc:docMk/>
            <pc:sldMk cId="917494569" sldId="275"/>
            <ac:picMk id="4" creationId="{671E14AD-D3BE-9049-B8C5-42D2BDE5B542}"/>
          </ac:picMkLst>
        </pc:picChg>
      </pc:sldChg>
      <pc:sldChg chg="addSp delSp modSp">
        <pc:chgData name="Lewis David" userId="9bae3d31-b5d1-47e3-8b2b-9bb3b57496a6" providerId="ADAL" clId="{5650803B-E574-9144-8051-E0704EFB5035}" dt="2019-12-11T12:09:14.649" v="269" actId="113"/>
        <pc:sldMkLst>
          <pc:docMk/>
          <pc:sldMk cId="1400327765" sldId="278"/>
        </pc:sldMkLst>
        <pc:spChg chg="mod">
          <ac:chgData name="Lewis David" userId="9bae3d31-b5d1-47e3-8b2b-9bb3b57496a6" providerId="ADAL" clId="{5650803B-E574-9144-8051-E0704EFB5035}" dt="2019-12-11T12:09:14.649" v="269" actId="113"/>
          <ac:spMkLst>
            <pc:docMk/>
            <pc:sldMk cId="1400327765" sldId="278"/>
            <ac:spMk id="2" creationId="{7583A8E6-390D-4C3E-B057-FBDE008282C0}"/>
          </ac:spMkLst>
        </pc:spChg>
        <pc:spChg chg="mod">
          <ac:chgData name="Lewis David" userId="9bae3d31-b5d1-47e3-8b2b-9bb3b57496a6" providerId="ADAL" clId="{5650803B-E574-9144-8051-E0704EFB5035}" dt="2019-12-09T14:20:57.828" v="233" actId="1076"/>
          <ac:spMkLst>
            <pc:docMk/>
            <pc:sldMk cId="1400327765" sldId="278"/>
            <ac:spMk id="13" creationId="{DE696618-7266-634E-8768-14A770DFA45D}"/>
          </ac:spMkLst>
        </pc:spChg>
        <pc:spChg chg="mod">
          <ac:chgData name="Lewis David" userId="9bae3d31-b5d1-47e3-8b2b-9bb3b57496a6" providerId="ADAL" clId="{5650803B-E574-9144-8051-E0704EFB5035}" dt="2019-12-09T14:20:57.828" v="233" actId="1076"/>
          <ac:spMkLst>
            <pc:docMk/>
            <pc:sldMk cId="1400327765" sldId="278"/>
            <ac:spMk id="20" creationId="{B6E7163C-2DD5-5B46-BC6C-7869DA898CF4}"/>
          </ac:spMkLst>
        </pc:spChg>
        <pc:spChg chg="mod">
          <ac:chgData name="Lewis David" userId="9bae3d31-b5d1-47e3-8b2b-9bb3b57496a6" providerId="ADAL" clId="{5650803B-E574-9144-8051-E0704EFB5035}" dt="2019-12-09T14:20:57.828" v="233" actId="1076"/>
          <ac:spMkLst>
            <pc:docMk/>
            <pc:sldMk cId="1400327765" sldId="278"/>
            <ac:spMk id="22" creationId="{DA91DB9F-10F7-C84D-B9D7-114EFE129437}"/>
          </ac:spMkLst>
        </pc:spChg>
        <pc:spChg chg="mod">
          <ac:chgData name="Lewis David" userId="9bae3d31-b5d1-47e3-8b2b-9bb3b57496a6" providerId="ADAL" clId="{5650803B-E574-9144-8051-E0704EFB5035}" dt="2019-12-09T14:20:52.945" v="232" actId="1076"/>
          <ac:spMkLst>
            <pc:docMk/>
            <pc:sldMk cId="1400327765" sldId="278"/>
            <ac:spMk id="251" creationId="{00000000-0000-0000-0000-000000000000}"/>
          </ac:spMkLst>
        </pc:spChg>
        <pc:spChg chg="mod">
          <ac:chgData name="Lewis David" userId="9bae3d31-b5d1-47e3-8b2b-9bb3b57496a6" providerId="ADAL" clId="{5650803B-E574-9144-8051-E0704EFB5035}" dt="2019-12-09T14:21:07.491" v="235" actId="242"/>
          <ac:spMkLst>
            <pc:docMk/>
            <pc:sldMk cId="1400327765" sldId="278"/>
            <ac:spMk id="252" creationId="{00000000-0000-0000-0000-000000000000}"/>
          </ac:spMkLst>
        </pc:spChg>
        <pc:spChg chg="mod">
          <ac:chgData name="Lewis David" userId="9bae3d31-b5d1-47e3-8b2b-9bb3b57496a6" providerId="ADAL" clId="{5650803B-E574-9144-8051-E0704EFB5035}" dt="2019-12-09T14:20:52.945" v="232" actId="1076"/>
          <ac:spMkLst>
            <pc:docMk/>
            <pc:sldMk cId="1400327765" sldId="278"/>
            <ac:spMk id="253" creationId="{00000000-0000-0000-0000-000000000000}"/>
          </ac:spMkLst>
        </pc:spChg>
        <pc:spChg chg="mod">
          <ac:chgData name="Lewis David" userId="9bae3d31-b5d1-47e3-8b2b-9bb3b57496a6" providerId="ADAL" clId="{5650803B-E574-9144-8051-E0704EFB5035}" dt="2019-12-09T11:55:27.984" v="80" actId="1076"/>
          <ac:spMkLst>
            <pc:docMk/>
            <pc:sldMk cId="1400327765" sldId="278"/>
            <ac:spMk id="254" creationId="{00000000-0000-0000-0000-000000000000}"/>
          </ac:spMkLst>
        </pc:spChg>
        <pc:picChg chg="add mod">
          <ac:chgData name="Lewis David" userId="9bae3d31-b5d1-47e3-8b2b-9bb3b57496a6" providerId="ADAL" clId="{5650803B-E574-9144-8051-E0704EFB5035}" dt="2019-12-09T12:33:49.152" v="115" actId="554"/>
          <ac:picMkLst>
            <pc:docMk/>
            <pc:sldMk cId="1400327765" sldId="278"/>
            <ac:picMk id="4" creationId="{677D02A4-7EE3-2346-B16A-4689FE33E251}"/>
          </ac:picMkLst>
        </pc:picChg>
        <pc:picChg chg="del mod">
          <ac:chgData name="Lewis David" userId="9bae3d31-b5d1-47e3-8b2b-9bb3b57496a6" providerId="ADAL" clId="{5650803B-E574-9144-8051-E0704EFB5035}" dt="2019-12-09T11:57:48.705" v="91" actId="478"/>
          <ac:picMkLst>
            <pc:docMk/>
            <pc:sldMk cId="1400327765" sldId="278"/>
            <ac:picMk id="14" creationId="{03185E2D-E174-5E46-9CD8-D8E211E0F1F7}"/>
          </ac:picMkLst>
        </pc:picChg>
        <pc:picChg chg="del mod">
          <ac:chgData name="Lewis David" userId="9bae3d31-b5d1-47e3-8b2b-9bb3b57496a6" providerId="ADAL" clId="{5650803B-E574-9144-8051-E0704EFB5035}" dt="2019-12-09T11:57:15.129" v="84" actId="478"/>
          <ac:picMkLst>
            <pc:docMk/>
            <pc:sldMk cId="1400327765" sldId="278"/>
            <ac:picMk id="15" creationId="{FC07EFD9-6D21-174C-9ABC-A97809615203}"/>
          </ac:picMkLst>
        </pc:picChg>
        <pc:picChg chg="mod">
          <ac:chgData name="Lewis David" userId="9bae3d31-b5d1-47e3-8b2b-9bb3b57496a6" providerId="ADAL" clId="{5650803B-E574-9144-8051-E0704EFB5035}" dt="2019-12-09T12:33:49.152" v="115" actId="554"/>
          <ac:picMkLst>
            <pc:docMk/>
            <pc:sldMk cId="1400327765" sldId="278"/>
            <ac:picMk id="16" creationId="{B0C83A65-6AD7-624E-9CD2-56F0ADA1653F}"/>
          </ac:picMkLst>
        </pc:picChg>
        <pc:picChg chg="add del">
          <ac:chgData name="Lewis David" userId="9bae3d31-b5d1-47e3-8b2b-9bb3b57496a6" providerId="ADAL" clId="{5650803B-E574-9144-8051-E0704EFB5035}" dt="2019-12-09T11:57:47.680" v="90"/>
          <ac:picMkLst>
            <pc:docMk/>
            <pc:sldMk cId="1400327765" sldId="278"/>
            <ac:picMk id="17" creationId="{31B1AFEA-8323-0840-A21A-33DE99C990DC}"/>
          </ac:picMkLst>
        </pc:picChg>
        <pc:picChg chg="add mod">
          <ac:chgData name="Lewis David" userId="9bae3d31-b5d1-47e3-8b2b-9bb3b57496a6" providerId="ADAL" clId="{5650803B-E574-9144-8051-E0704EFB5035}" dt="2019-12-09T12:33:49.152" v="115" actId="554"/>
          <ac:picMkLst>
            <pc:docMk/>
            <pc:sldMk cId="1400327765" sldId="278"/>
            <ac:picMk id="18" creationId="{84B40AC8-4ED4-204D-9F76-5E8F9D76D321}"/>
          </ac:picMkLst>
        </pc:picChg>
      </pc:sldChg>
      <pc:sldChg chg="modSp">
        <pc:chgData name="Lewis David" userId="9bae3d31-b5d1-47e3-8b2b-9bb3b57496a6" providerId="ADAL" clId="{5650803B-E574-9144-8051-E0704EFB5035}" dt="2019-12-09T11:52:54.574" v="70" actId="732"/>
        <pc:sldMkLst>
          <pc:docMk/>
          <pc:sldMk cId="2613270328" sldId="287"/>
        </pc:sldMkLst>
        <pc:picChg chg="mod modCrop">
          <ac:chgData name="Lewis David" userId="9bae3d31-b5d1-47e3-8b2b-9bb3b57496a6" providerId="ADAL" clId="{5650803B-E574-9144-8051-E0704EFB5035}" dt="2019-12-09T11:52:54.574" v="70" actId="732"/>
          <ac:picMkLst>
            <pc:docMk/>
            <pc:sldMk cId="2613270328" sldId="287"/>
            <ac:picMk id="4" creationId="{05739A71-71B3-7743-ABE0-0B3AE61B510C}"/>
          </ac:picMkLst>
        </pc:picChg>
      </pc:sldChg>
    </pc:docChg>
  </pc:docChgLst>
  <pc:docChgLst>
    <pc:chgData name="Linna Sirkku" userId="S::sirkku.linna@aalto.fi::9b7f1fee-52f0-4b65-8d4d-5369f254e16f" providerId="AD" clId="Web-{DE89BB67-7124-4FE2-9EA8-169143F82543}"/>
    <pc:docChg chg="addSld">
      <pc:chgData name="Linna Sirkku" userId="S::sirkku.linna@aalto.fi::9b7f1fee-52f0-4b65-8d4d-5369f254e16f" providerId="AD" clId="Web-{DE89BB67-7124-4FE2-9EA8-169143F82543}" dt="2019-12-10T07:33:46.026" v="0"/>
      <pc:docMkLst>
        <pc:docMk/>
      </pc:docMkLst>
      <pc:sldChg chg="new">
        <pc:chgData name="Linna Sirkku" userId="S::sirkku.linna@aalto.fi::9b7f1fee-52f0-4b65-8d4d-5369f254e16f" providerId="AD" clId="Web-{DE89BB67-7124-4FE2-9EA8-169143F82543}" dt="2019-12-10T07:33:46.026" v="0"/>
        <pc:sldMkLst>
          <pc:docMk/>
          <pc:sldMk cId="3891980917" sldId="292"/>
        </pc:sldMkLst>
      </pc:sldChg>
    </pc:docChg>
  </pc:docChgLst>
  <pc:docChgLst>
    <pc:chgData name="Haikarainen Riikka" userId="S::riikka.haikarainen@aalto.fi::d6a5f83e-2a54-4795-9f33-366efde645ef" providerId="AD" clId="Web-{499D92F4-F9F7-0DDD-3BF1-13CDF78A1FCC}"/>
    <pc:docChg chg="delSld">
      <pc:chgData name="Haikarainen Riikka" userId="S::riikka.haikarainen@aalto.fi::d6a5f83e-2a54-4795-9f33-366efde645ef" providerId="AD" clId="Web-{499D92F4-F9F7-0DDD-3BF1-13CDF78A1FCC}" dt="2020-01-07T14:58:01.245" v="0"/>
      <pc:docMkLst>
        <pc:docMk/>
      </pc:docMkLst>
      <pc:sldChg chg="del">
        <pc:chgData name="Haikarainen Riikka" userId="S::riikka.haikarainen@aalto.fi::d6a5f83e-2a54-4795-9f33-366efde645ef" providerId="AD" clId="Web-{499D92F4-F9F7-0DDD-3BF1-13CDF78A1FCC}" dt="2020-01-07T14:58:01.245" v="0"/>
        <pc:sldMkLst>
          <pc:docMk/>
          <pc:sldMk cId="4128515803" sldId="289"/>
        </pc:sldMkLst>
      </pc:sldChg>
    </pc:docChg>
  </pc:docChgLst>
  <pc:docChgLst>
    <pc:chgData name="Lewis David" userId="S::david.lewis@aalto.fi::9bae3d31-b5d1-47e3-8b2b-9bb3b57496a6" providerId="AD" clId="Web-{9626B8B3-BBB5-0468-D1C1-E0CEFD26D83F}"/>
    <pc:docChg chg="modSld">
      <pc:chgData name="Lewis David" userId="S::david.lewis@aalto.fi::9bae3d31-b5d1-47e3-8b2b-9bb3b57496a6" providerId="AD" clId="Web-{9626B8B3-BBB5-0468-D1C1-E0CEFD26D83F}" dt="2019-12-09T14:37:20.214" v="3" actId="14100"/>
      <pc:docMkLst>
        <pc:docMk/>
      </pc:docMkLst>
    </pc:docChg>
  </pc:docChgLst>
  <pc:docChgLst>
    <pc:chgData name="Lewis David" userId="S::david.lewis@aalto.fi::9bae3d31-b5d1-47e3-8b2b-9bb3b57496a6" providerId="AD" clId="Web-{F04C6B83-9F6F-032E-A07C-18A114588B55}"/>
    <pc:docChg chg="modSld">
      <pc:chgData name="Lewis David" userId="S::david.lewis@aalto.fi::9bae3d31-b5d1-47e3-8b2b-9bb3b57496a6" providerId="AD" clId="Web-{F04C6B83-9F6F-032E-A07C-18A114588B55}" dt="2019-12-09T14:39:49.428" v="2"/>
      <pc:docMkLst>
        <pc:docMk/>
      </pc:docMkLst>
    </pc:docChg>
  </pc:docChgLst>
  <pc:docChgLst>
    <pc:chgData name="Alvarez Arroyo Gabriel" userId="S::gabriel.alvarezarroyo@aalto.fi::3e797e7f-0f33-4170-acba-956e179c4dbe" providerId="AD" clId="Web-{A6CC7FC4-7C31-46B1-9355-3170D0808012}"/>
    <pc:docChg chg="modSld">
      <pc:chgData name="Alvarez Arroyo Gabriel" userId="S::gabriel.alvarezarroyo@aalto.fi::3e797e7f-0f33-4170-acba-956e179c4dbe" providerId="AD" clId="Web-{A6CC7FC4-7C31-46B1-9355-3170D0808012}" dt="2019-12-12T11:35:55.236" v="1" actId="1076"/>
      <pc:docMkLst>
        <pc:docMk/>
      </pc:docMkLst>
      <pc:sldChg chg="modSp">
        <pc:chgData name="Alvarez Arroyo Gabriel" userId="S::gabriel.alvarezarroyo@aalto.fi::3e797e7f-0f33-4170-acba-956e179c4dbe" providerId="AD" clId="Web-{A6CC7FC4-7C31-46B1-9355-3170D0808012}" dt="2019-12-12T11:35:55.236" v="1" actId="1076"/>
        <pc:sldMkLst>
          <pc:docMk/>
          <pc:sldMk cId="2264251957" sldId="263"/>
        </pc:sldMkLst>
        <pc:picChg chg="mod">
          <ac:chgData name="Alvarez Arroyo Gabriel" userId="S::gabriel.alvarezarroyo@aalto.fi::3e797e7f-0f33-4170-acba-956e179c4dbe" providerId="AD" clId="Web-{A6CC7FC4-7C31-46B1-9355-3170D0808012}" dt="2019-12-12T11:35:55.236" v="1" actId="1076"/>
          <ac:picMkLst>
            <pc:docMk/>
            <pc:sldMk cId="2264251957" sldId="263"/>
            <ac:picMk id="12" creationId="{6361F916-8E0D-7C40-BAD3-B9186DD580C1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582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8971" y="0"/>
            <a:ext cx="2921582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ECB8E7-56AE-4153-8E39-181AA6CF2980}" type="datetimeFigureOut">
              <a:rPr lang="fi-FI" smtClean="0"/>
              <a:t>7.1.2020</a:t>
            </a:fld>
            <a:endParaRPr lang="fi-FI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1233488"/>
            <a:ext cx="5926137" cy="3333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212" y="4751983"/>
            <a:ext cx="5393690" cy="388798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21582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8971" y="9378824"/>
            <a:ext cx="2921582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2571D5-566C-4C15-ABC7-901E55EC3110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931307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0963" y="741363"/>
            <a:ext cx="6580187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6779910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0963" y="741363"/>
            <a:ext cx="6580187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1028000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0963" y="741363"/>
            <a:ext cx="6580187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020093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0963" y="741363"/>
            <a:ext cx="6580187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/>
              <a:t>CHANGE THE PHOTO TO HAVE MORE DIVERSITY?</a:t>
            </a:r>
          </a:p>
        </p:txBody>
      </p:sp>
    </p:spTree>
    <p:extLst>
      <p:ext uri="{BB962C8B-B14F-4D97-AF65-F5344CB8AC3E}">
        <p14:creationId xmlns:p14="http://schemas.microsoft.com/office/powerpoint/2010/main" val="11062127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0963" y="741363"/>
            <a:ext cx="6580187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200137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0963" y="741363"/>
            <a:ext cx="6580187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149563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0963" y="741363"/>
            <a:ext cx="6580187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459506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/>
              <a:t>CHANGE PHOTO</a:t>
            </a:r>
          </a:p>
        </p:txBody>
      </p:sp>
    </p:spTree>
    <p:extLst>
      <p:ext uri="{BB962C8B-B14F-4D97-AF65-F5344CB8AC3E}">
        <p14:creationId xmlns:p14="http://schemas.microsoft.com/office/powerpoint/2010/main" val="39636893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0963" y="741363"/>
            <a:ext cx="6580187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487938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0963" y="741363"/>
            <a:ext cx="6580187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/>
              <a:t>PALAUTETAAN EDELLINEN LOGIIKKA </a:t>
            </a:r>
          </a:p>
        </p:txBody>
      </p:sp>
    </p:spTree>
    <p:extLst>
      <p:ext uri="{BB962C8B-B14F-4D97-AF65-F5344CB8AC3E}">
        <p14:creationId xmlns:p14="http://schemas.microsoft.com/office/powerpoint/2010/main" val="13574575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0963" y="741363"/>
            <a:ext cx="6580187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40176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623592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889000" y="1149350"/>
            <a:ext cx="10414000" cy="2324100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89000" y="3536950"/>
            <a:ext cx="10414000" cy="79375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700"/>
            </a:lvl1pPr>
            <a:lvl2pPr marL="0" indent="0" algn="ctr">
              <a:spcBef>
                <a:spcPts val="0"/>
              </a:spcBef>
              <a:buSzTx/>
              <a:buNone/>
              <a:defRPr sz="2700"/>
            </a:lvl2pPr>
            <a:lvl3pPr marL="0" indent="0" algn="ctr">
              <a:spcBef>
                <a:spcPts val="0"/>
              </a:spcBef>
              <a:buSzTx/>
              <a:buNone/>
              <a:defRPr sz="2700"/>
            </a:lvl3pPr>
            <a:lvl4pPr marL="0" indent="0" algn="ctr">
              <a:spcBef>
                <a:spcPts val="0"/>
              </a:spcBef>
              <a:buSzTx/>
              <a:buNone/>
              <a:defRPr sz="2700"/>
            </a:lvl4pPr>
            <a:lvl5pPr marL="0" indent="0" algn="ctr">
              <a:spcBef>
                <a:spcPts val="0"/>
              </a:spcBef>
              <a:buSzTx/>
              <a:buNone/>
              <a:defRPr sz="27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15585621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39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43776623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Bullets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Image"/>
          <p:cNvSpPr>
            <a:spLocks noGrp="1"/>
          </p:cNvSpPr>
          <p:nvPr>
            <p:ph type="pic" sz="half" idx="13"/>
          </p:nvPr>
        </p:nvSpPr>
        <p:spPr>
          <a:xfrm>
            <a:off x="5480050" y="1574800"/>
            <a:ext cx="6972300" cy="46482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844550" y="1574800"/>
            <a:ext cx="5111750" cy="4648200"/>
          </a:xfrm>
          <a:prstGeom prst="rect">
            <a:avLst/>
          </a:prstGeom>
        </p:spPr>
        <p:txBody>
          <a:bodyPr/>
          <a:lstStyle>
            <a:lvl1pPr marL="279400" indent="-279400">
              <a:spcBef>
                <a:spcPts val="2250"/>
              </a:spcBef>
              <a:defRPr sz="1900"/>
            </a:lvl1pPr>
            <a:lvl2pPr marL="558800" indent="-279400">
              <a:spcBef>
                <a:spcPts val="2250"/>
              </a:spcBef>
              <a:defRPr sz="1900"/>
            </a:lvl2pPr>
            <a:lvl3pPr marL="838200" indent="-279400">
              <a:spcBef>
                <a:spcPts val="2250"/>
              </a:spcBef>
              <a:defRPr sz="1900"/>
            </a:lvl3pPr>
            <a:lvl4pPr marL="1117600" indent="-279400">
              <a:spcBef>
                <a:spcPts val="2250"/>
              </a:spcBef>
              <a:defRPr sz="1900"/>
            </a:lvl4pPr>
            <a:lvl5pPr marL="1397000" indent="-279400">
              <a:spcBef>
                <a:spcPts val="2250"/>
              </a:spcBef>
              <a:defRPr sz="19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40290827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Body Level One…"/>
          <p:cNvSpPr txBox="1">
            <a:spLocks noGrp="1"/>
          </p:cNvSpPr>
          <p:nvPr>
            <p:ph type="body" idx="1"/>
          </p:nvPr>
        </p:nvSpPr>
        <p:spPr>
          <a:xfrm>
            <a:off x="844550" y="889000"/>
            <a:ext cx="10502900" cy="5080000"/>
          </a:xfrm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54028988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Image"/>
          <p:cNvSpPr>
            <a:spLocks noGrp="1"/>
          </p:cNvSpPr>
          <p:nvPr>
            <p:ph type="pic" sz="quarter" idx="13"/>
          </p:nvPr>
        </p:nvSpPr>
        <p:spPr>
          <a:xfrm>
            <a:off x="7840670" y="3517900"/>
            <a:ext cx="4198341" cy="280035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6" name="Image"/>
          <p:cNvSpPr>
            <a:spLocks noGrp="1"/>
          </p:cNvSpPr>
          <p:nvPr>
            <p:ph type="pic" sz="quarter" idx="14"/>
          </p:nvPr>
        </p:nvSpPr>
        <p:spPr>
          <a:xfrm>
            <a:off x="7645400" y="565150"/>
            <a:ext cx="4165600" cy="277706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7" name="Image"/>
          <p:cNvSpPr>
            <a:spLocks noGrp="1"/>
          </p:cNvSpPr>
          <p:nvPr>
            <p:ph type="pic" idx="15"/>
          </p:nvPr>
        </p:nvSpPr>
        <p:spPr>
          <a:xfrm>
            <a:off x="-152400" y="565150"/>
            <a:ext cx="8601075" cy="573405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73270871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193800" y="4476750"/>
            <a:ext cx="9810750" cy="292761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1600" i="1"/>
            </a:lvl1pPr>
            <a:lvl2pPr marL="512884" indent="-195384" algn="ctr">
              <a:spcBef>
                <a:spcPts val="0"/>
              </a:spcBef>
              <a:defRPr sz="1600" i="1"/>
            </a:lvl2pPr>
            <a:lvl3pPr marL="830384" indent="-195384" algn="ctr">
              <a:spcBef>
                <a:spcPts val="0"/>
              </a:spcBef>
              <a:defRPr sz="1600" i="1"/>
            </a:lvl3pPr>
            <a:lvl4pPr marL="1147884" indent="-195384" algn="ctr">
              <a:spcBef>
                <a:spcPts val="0"/>
              </a:spcBef>
              <a:defRPr sz="1600" i="1"/>
            </a:lvl4pPr>
            <a:lvl5pPr marL="1465384" indent="-195384" algn="ctr">
              <a:spcBef>
                <a:spcPts val="0"/>
              </a:spcBef>
              <a:defRPr sz="1600" i="1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6" name="“Type a quote here.”"/>
          <p:cNvSpPr txBox="1">
            <a:spLocks noGrp="1"/>
          </p:cNvSpPr>
          <p:nvPr>
            <p:ph type="body" sz="quarter" idx="13"/>
          </p:nvPr>
        </p:nvSpPr>
        <p:spPr>
          <a:xfrm>
            <a:off x="1193800" y="3038475"/>
            <a:ext cx="9810750" cy="41275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7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60105681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Image"/>
          <p:cNvSpPr>
            <a:spLocks noGrp="1"/>
          </p:cNvSpPr>
          <p:nvPr>
            <p:ph type="pic" idx="13"/>
          </p:nvPr>
        </p:nvSpPr>
        <p:spPr>
          <a:xfrm>
            <a:off x="0" y="0"/>
            <a:ext cx="12192000" cy="8132234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51036013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56498009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2" imgW="395" imgH="396" progId="TCLayout.ActiveDocument.1">
                  <p:embed/>
                </p:oleObj>
              </mc:Choice>
              <mc:Fallback>
                <p:oleObj name="think-cell Slide" r:id="rId12" imgW="395" imgH="39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844550" y="177800"/>
            <a:ext cx="10502900" cy="1143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844550" y="1574800"/>
            <a:ext cx="10502900" cy="46482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9516" y="6540500"/>
            <a:ext cx="290144" cy="287258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20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35445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</p:sldLayoutIdLst>
  <p:transition spd="med"/>
  <p:txStyles>
    <p:titleStyle>
      <a:lvl1pPr marL="0" marR="0" indent="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1pPr>
      <a:lvl2pPr marL="0" marR="0" indent="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2pPr>
      <a:lvl3pPr marL="0" marR="0" indent="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3pPr>
      <a:lvl4pPr marL="0" marR="0" indent="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4pPr>
      <a:lvl5pPr marL="0" marR="0" indent="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5pPr>
      <a:lvl6pPr marL="0" marR="0" indent="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6pPr>
      <a:lvl7pPr marL="0" marR="0" indent="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7pPr>
      <a:lvl8pPr marL="0" marR="0" indent="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8pPr>
      <a:lvl9pPr marL="0" marR="0" indent="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9pPr>
    </p:titleStyle>
    <p:bodyStyle>
      <a:lvl1pPr marL="317500" marR="0" indent="-317500" algn="l" defTabSz="412750" rtl="0" latinLnBrk="0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1pPr>
      <a:lvl2pPr marL="635000" marR="0" indent="-317500" algn="l" defTabSz="412750" rtl="0" latinLnBrk="0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2pPr>
      <a:lvl3pPr marL="952500" marR="0" indent="-317500" algn="l" defTabSz="412750" rtl="0" latinLnBrk="0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3pPr>
      <a:lvl4pPr marL="1270000" marR="0" indent="-317500" algn="l" defTabSz="412750" rtl="0" latinLnBrk="0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4pPr>
      <a:lvl5pPr marL="1587500" marR="0" indent="-317500" algn="l" defTabSz="412750" rtl="0" latinLnBrk="0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5pPr>
      <a:lvl6pPr marL="1880576" marR="0" indent="-293076" algn="l" defTabSz="412750" rtl="0" latinLnBrk="0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6pPr>
      <a:lvl7pPr marL="2198076" marR="0" indent="-293076" algn="l" defTabSz="412750" rtl="0" latinLnBrk="0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7pPr>
      <a:lvl8pPr marL="2515576" marR="0" indent="-293076" algn="l" defTabSz="412750" rtl="0" latinLnBrk="0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8pPr>
      <a:lvl9pPr marL="2833076" marR="0" indent="-293076" algn="l" defTabSz="412750" rtl="0" latinLnBrk="0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9pPr>
    </p:bodyStyle>
    <p:otherStyle>
      <a:lvl1pPr marL="0" marR="0" indent="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tif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jpeg"/><Relationship Id="rId5" Type="http://schemas.openxmlformats.org/officeDocument/2006/relationships/image" Target="../media/image20.tiff"/><Relationship Id="rId4" Type="http://schemas.openxmlformats.org/officeDocument/2006/relationships/image" Target="../media/image19.tif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eua.eu/resources/publications/819:the-role-of-universities-in-regional-innovation-ecosystems.html" TargetMode="External"/><Relationship Id="rId13" Type="http://schemas.openxmlformats.org/officeDocument/2006/relationships/image" Target="../media/image6.jpeg"/><Relationship Id="rId3" Type="http://schemas.openxmlformats.org/officeDocument/2006/relationships/image" Target="../media/image3.png"/><Relationship Id="rId7" Type="http://schemas.openxmlformats.org/officeDocument/2006/relationships/hyperlink" Target="https://ec.europa.eu/jrc/en/publication/eur-scientific-and-technical-research-reports/place-based-innovation-ecosystems-espoo-innovation-garden-and-aalto-university-finland" TargetMode="External"/><Relationship Id="rId12" Type="http://schemas.openxmlformats.org/officeDocument/2006/relationships/hyperlink" Target="https://www.aalto.fi/en/aalto-university/rankings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rhgraham.org/resources/MIT:Skoltech-entrepreneurial-ecosystems-report-2014-.pdf" TargetMode="External"/><Relationship Id="rId11" Type="http://schemas.openxmlformats.org/officeDocument/2006/relationships/hyperlink" Target="https://www.aalto.fi/en/aalto-university/key-figures-of-2018-and-reports" TargetMode="External"/><Relationship Id="rId5" Type="http://schemas.openxmlformats.org/officeDocument/2006/relationships/hyperlink" Target="https://www.topuniversities.com/university-rankings-articles/top-50-under-50-next-50-under-50/qs-top-50-under-50-2020" TargetMode="External"/><Relationship Id="rId10" Type="http://schemas.openxmlformats.org/officeDocument/2006/relationships/hyperlink" Target="https://www.aalto.fi/en/research-art/excellence-in-research" TargetMode="External"/><Relationship Id="rId4" Type="http://schemas.openxmlformats.org/officeDocument/2006/relationships/hyperlink" Target="https://www.aalto.fi/en/research-art/research-assessments" TargetMode="External"/><Relationship Id="rId9" Type="http://schemas.openxmlformats.org/officeDocument/2006/relationships/hyperlink" Target="https://www.timeshighereducation.com/student/best-universities/most-international-universities-world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tiff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71E14AD-D3BE-9049-B8C5-42D2BDE5B5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2219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551173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room filled with furniture and a large window&#10;&#10;Description automatically generated">
            <a:extLst>
              <a:ext uri="{FF2B5EF4-FFF2-40B4-BE49-F238E27FC236}">
                <a16:creationId xmlns:a16="http://schemas.microsoft.com/office/drawing/2014/main" id="{B6062228-F4F7-5640-B2B5-23E98B0E481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817" t="2138" r="21930" b="-151"/>
          <a:stretch/>
        </p:blipFill>
        <p:spPr>
          <a:xfrm>
            <a:off x="-282483" y="0"/>
            <a:ext cx="5879720" cy="6868666"/>
          </a:xfrm>
          <a:prstGeom prst="rect">
            <a:avLst/>
          </a:prstGeom>
        </p:spPr>
      </p:pic>
      <p:pic>
        <p:nvPicPr>
          <p:cNvPr id="167" name="Image" descr="Image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82887" y="5888741"/>
            <a:ext cx="2309113" cy="969259"/>
          </a:xfrm>
          <a:prstGeom prst="rect">
            <a:avLst/>
          </a:prstGeom>
          <a:ln w="12700">
            <a:miter lim="400000"/>
          </a:ln>
        </p:spPr>
      </p:pic>
      <p:sp>
        <p:nvSpPr>
          <p:cNvPr id="168" name="Aalto University is the most creative and inspiring community for new thinking"/>
          <p:cNvSpPr txBox="1"/>
          <p:nvPr/>
        </p:nvSpPr>
        <p:spPr>
          <a:xfrm>
            <a:off x="6085342" y="1963976"/>
            <a:ext cx="5879720" cy="34368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defTabSz="412750" hangingPunct="0"/>
            <a:r>
              <a:rPr lang="en-US" sz="2000" b="1" kern="0">
                <a:latin typeface="Arial"/>
                <a:cs typeface="Arial"/>
                <a:sym typeface="Helvetica"/>
              </a:rPr>
              <a:t>Focus of development: </a:t>
            </a:r>
            <a:r>
              <a:rPr lang="en-US" sz="2000" kern="0">
                <a:latin typeface="Arial"/>
                <a:cs typeface="Arial"/>
                <a:sym typeface="Helvetica"/>
              </a:rPr>
              <a:t>Future-led learning </a:t>
            </a:r>
            <a:endParaRPr lang="en-US" sz="2000" kern="0">
              <a:latin typeface="Arial" panose="020B0604020202020204" pitchFamily="34" charset="0"/>
              <a:cs typeface="Arial" panose="020B0604020202020204" pitchFamily="34" charset="0"/>
              <a:sym typeface="Helvetica"/>
            </a:endParaRPr>
          </a:p>
          <a:p>
            <a:pPr defTabSz="412750" hangingPunct="0"/>
            <a:r>
              <a:rPr lang="en-US" sz="2000" kern="0">
                <a:latin typeface="Arial"/>
                <a:cs typeface="Arial"/>
                <a:sym typeface="Helvetica"/>
              </a:rPr>
              <a:t> </a:t>
            </a:r>
            <a:br>
              <a:rPr lang="en-US" sz="2000" b="1" ker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We take</a:t>
            </a:r>
            <a:r>
              <a:rPr lang="en-US" sz="2000" b="1" kern="0">
                <a:latin typeface="Arial"/>
                <a:cs typeface="Arial"/>
                <a:sym typeface="Helvetica"/>
              </a:rPr>
              <a:t> greater </a:t>
            </a:r>
            <a:r>
              <a:rPr lang="en-US" sz="20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societal responsibility in degree education and continuous learning, in and across our key areas. We elevate student experience and quality of learning.</a:t>
            </a:r>
            <a:endParaRPr lang="en-US" sz="2000" b="1" kern="0">
              <a:solidFill>
                <a:srgbClr val="000000"/>
              </a:solidFill>
              <a:latin typeface="Arial"/>
              <a:cs typeface="Arial"/>
            </a:endParaRPr>
          </a:p>
          <a:p>
            <a:pPr defTabSz="412750" hangingPunct="0"/>
            <a:endParaRPr lang="en-US" sz="2000" b="1" i="1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Helvetica"/>
            </a:endParaRPr>
          </a:p>
          <a:p>
            <a:pPr defTabSz="412750" hangingPunct="0"/>
            <a:r>
              <a:rPr lang="en-US" sz="1500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Actions: </a:t>
            </a:r>
            <a:r>
              <a:rPr lang="en-US" sz="15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Renewing educational offering, developing our digital and engaged learning environment, integrating sustainability and multidisciplinary studies into </a:t>
            </a:r>
            <a:r>
              <a:rPr lang="en-US" sz="1500" b="1" kern="0" err="1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programmes</a:t>
            </a:r>
            <a:r>
              <a:rPr lang="en-US" sz="15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, advancing learning-centricity, focusing on holistic wellbeing</a:t>
            </a:r>
            <a:endParaRPr lang="en-US" sz="1500" b="1" kern="0">
              <a:solidFill>
                <a:srgbClr val="FF644E"/>
              </a:solidFill>
              <a:latin typeface="Arial"/>
              <a:cs typeface="Arial"/>
              <a:sym typeface="Helvetica"/>
            </a:endParaRPr>
          </a:p>
          <a:p>
            <a:pPr defTabSz="228600" hangingPunct="0">
              <a:defRPr sz="4100" b="1">
                <a:latin typeface="Arial"/>
                <a:ea typeface="Arial"/>
                <a:cs typeface="Arial"/>
                <a:sym typeface="Arial"/>
              </a:defRPr>
            </a:pPr>
            <a:endParaRPr sz="2000" b="1" i="1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69" name="We Deliver Research Excellence, Making Breakthroughs in…"/>
          <p:cNvSpPr txBox="1"/>
          <p:nvPr/>
        </p:nvSpPr>
        <p:spPr>
          <a:xfrm>
            <a:off x="6085342" y="440141"/>
            <a:ext cx="5685972" cy="9746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defTabSz="228600" hangingPunct="0">
              <a:defRPr sz="8200" b="1">
                <a:latin typeface="Arial"/>
                <a:ea typeface="Arial"/>
                <a:cs typeface="Arial"/>
                <a:sym typeface="Arial"/>
              </a:defRPr>
            </a:pPr>
            <a:r>
              <a:rPr lang="en-US" sz="30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We spark the game changers </a:t>
            </a:r>
          </a:p>
          <a:p>
            <a:pPr defTabSz="228600" hangingPunct="0">
              <a:defRPr sz="8200" b="1">
                <a:latin typeface="Arial"/>
                <a:ea typeface="Arial"/>
                <a:cs typeface="Arial"/>
                <a:sym typeface="Arial"/>
              </a:defRPr>
            </a:pPr>
            <a:r>
              <a:rPr lang="en-US" sz="30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f tomorrow</a:t>
            </a:r>
          </a:p>
        </p:txBody>
      </p:sp>
      <p:sp>
        <p:nvSpPr>
          <p:cNvPr id="170" name="Circle"/>
          <p:cNvSpPr/>
          <p:nvPr/>
        </p:nvSpPr>
        <p:spPr>
          <a:xfrm rot="20598940">
            <a:off x="150130" y="158030"/>
            <a:ext cx="2513475" cy="2513475"/>
          </a:xfrm>
          <a:prstGeom prst="ellipse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 hangingPunct="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kern="0">
              <a:solidFill>
                <a:srgbClr val="FFFFFF"/>
              </a:solidFill>
              <a:latin typeface="Helvetica Neue Medium"/>
              <a:sym typeface="Helvetica Neue Medium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09156F9-1281-144D-B30D-692B00AD252E}"/>
              </a:ext>
            </a:extLst>
          </p:cNvPr>
          <p:cNvSpPr/>
          <p:nvPr/>
        </p:nvSpPr>
        <p:spPr>
          <a:xfrm>
            <a:off x="176157" y="1181540"/>
            <a:ext cx="2461420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12750" hangingPunct="0"/>
            <a:r>
              <a:rPr lang="fi-FI" sz="2700" b="1" kern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"/>
              </a:rPr>
              <a:t>Education</a:t>
            </a:r>
            <a:endParaRPr lang="en-US" sz="2700" b="1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Helvetica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0E82BCD-CEBB-4A4F-A2C9-B7950D2A1564}"/>
              </a:ext>
            </a:extLst>
          </p:cNvPr>
          <p:cNvCxnSpPr>
            <a:cxnSpLocks/>
          </p:cNvCxnSpPr>
          <p:nvPr/>
        </p:nvCxnSpPr>
        <p:spPr>
          <a:xfrm>
            <a:off x="6096000" y="1689371"/>
            <a:ext cx="702111" cy="0"/>
          </a:xfrm>
          <a:prstGeom prst="line">
            <a:avLst/>
          </a:prstGeom>
          <a:noFill/>
          <a:ln w="63500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892277697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black, blue, close, standing&#10;&#10;Description automatically generated">
            <a:extLst>
              <a:ext uri="{FF2B5EF4-FFF2-40B4-BE49-F238E27FC236}">
                <a16:creationId xmlns:a16="http://schemas.microsoft.com/office/drawing/2014/main" id="{BBBC4609-D3EC-DE47-9B36-D0DDC71D94B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02878" y="0"/>
            <a:ext cx="5880909" cy="6858000"/>
          </a:xfrm>
          <a:prstGeom prst="rect">
            <a:avLst/>
          </a:prstGeom>
        </p:spPr>
      </p:pic>
      <p:pic>
        <p:nvPicPr>
          <p:cNvPr id="167" name="Image" descr="Image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82887" y="5888741"/>
            <a:ext cx="2309113" cy="969259"/>
          </a:xfrm>
          <a:prstGeom prst="rect">
            <a:avLst/>
          </a:prstGeom>
          <a:ln w="12700">
            <a:miter lim="400000"/>
          </a:ln>
        </p:spPr>
      </p:pic>
      <p:sp>
        <p:nvSpPr>
          <p:cNvPr id="168" name="Aalto University is the most creative and inspiring community for new thinking"/>
          <p:cNvSpPr txBox="1"/>
          <p:nvPr/>
        </p:nvSpPr>
        <p:spPr>
          <a:xfrm>
            <a:off x="6096000" y="3429000"/>
            <a:ext cx="5909185" cy="34830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defTabSz="412750" hangingPunct="0"/>
            <a:r>
              <a:rPr lang="en-US" sz="2000" b="1" kern="0">
                <a:latin typeface="Arial"/>
                <a:cs typeface="Arial"/>
                <a:sym typeface="Helvetica"/>
              </a:rPr>
              <a:t>Focus of development: </a:t>
            </a:r>
            <a:r>
              <a:rPr lang="en-US" sz="2000" kern="0">
                <a:latin typeface="Arial"/>
                <a:cs typeface="Arial"/>
                <a:sym typeface="Helvetica"/>
              </a:rPr>
              <a:t>Inspiring ecosystem</a:t>
            </a:r>
            <a:r>
              <a:rPr lang="en-US" sz="2000" b="1" kern="0">
                <a:latin typeface="Arial"/>
                <a:cs typeface="Arial"/>
                <a:sym typeface="Helvetica"/>
              </a:rPr>
              <a:t> </a:t>
            </a:r>
          </a:p>
          <a:p>
            <a:pPr defTabSz="412750" hangingPunct="0"/>
            <a:endParaRPr lang="en-US" b="1" kern="0">
              <a:solidFill>
                <a:srgbClr val="FFD733"/>
              </a:solidFill>
              <a:latin typeface="Arial" panose="020B0604020202020204" pitchFamily="34" charset="0"/>
              <a:cs typeface="Arial" panose="020B0604020202020204" pitchFamily="34" charset="0"/>
              <a:sym typeface="Helvetica"/>
            </a:endParaRPr>
          </a:p>
          <a:p>
            <a:pPr defTabSz="412750" hangingPunct="0"/>
            <a:r>
              <a:rPr lang="en-US" sz="2000" b="1" kern="0">
                <a:solidFill>
                  <a:srgbClr val="000000"/>
                </a:solidFill>
                <a:latin typeface="Arial"/>
                <a:ea typeface="+mn-lt"/>
                <a:cs typeface="Arial"/>
                <a:sym typeface="Helvetica"/>
              </a:rPr>
              <a:t>As a community of faculty, staff, students, alumni and partners,</a:t>
            </a:r>
            <a:r>
              <a:rPr lang="en-US" sz="20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 we build our innovation, </a:t>
            </a:r>
            <a:br>
              <a:rPr lang="en-US" sz="2000" b="1" ker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creative </a:t>
            </a:r>
            <a:r>
              <a:rPr lang="en-US" sz="2000" b="1" kern="0">
                <a:latin typeface="Arial"/>
                <a:cs typeface="Arial"/>
                <a:sym typeface="Helvetica"/>
              </a:rPr>
              <a:t>and entrepreneurial ecosystem as a prominent node</a:t>
            </a:r>
            <a:r>
              <a:rPr lang="en-US" sz="20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 in global</a:t>
            </a:r>
            <a:r>
              <a:rPr lang="en-US" sz="2000" b="1" kern="0">
                <a:solidFill>
                  <a:srgbClr val="FF0000"/>
                </a:solidFill>
                <a:latin typeface="Arial"/>
                <a:cs typeface="Arial"/>
                <a:sym typeface="Helvetica"/>
              </a:rPr>
              <a:t> </a:t>
            </a:r>
            <a:r>
              <a:rPr lang="en-US" sz="20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networks.</a:t>
            </a:r>
            <a:br>
              <a:rPr lang="en-US" b="1" kern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b="1" ker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Actions</a:t>
            </a:r>
            <a:r>
              <a:rPr lang="en-US" sz="1400" kern="0">
                <a:latin typeface="Arial"/>
                <a:cs typeface="Arial"/>
                <a:sym typeface="Helvetica"/>
              </a:rPr>
              <a:t>: </a:t>
            </a:r>
            <a:r>
              <a:rPr lang="en-US" sz="1400" b="1" kern="0">
                <a:latin typeface="Arial"/>
                <a:cs typeface="Arial"/>
                <a:sym typeface="Helvetica"/>
              </a:rPr>
              <a:t>Cultivating an environment of innovation,</a:t>
            </a:r>
            <a:r>
              <a:rPr lang="en-US" sz="1400" b="1" kern="0">
                <a:solidFill>
                  <a:srgbClr val="FF0000"/>
                </a:solidFill>
                <a:latin typeface="Arial"/>
                <a:cs typeface="Arial"/>
                <a:sym typeface="Helvetica"/>
              </a:rPr>
              <a:t> </a:t>
            </a:r>
            <a:r>
              <a:rPr lang="en-US" sz="14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developing global and local networks, building a sustainable and thriving campus</a:t>
            </a:r>
            <a:endParaRPr lang="en-US" sz="1500" b="1" kern="0">
              <a:solidFill>
                <a:srgbClr val="000000"/>
              </a:solidFill>
              <a:latin typeface="Arial"/>
              <a:cs typeface="Arial"/>
              <a:sym typeface="Helvetica"/>
            </a:endParaRPr>
          </a:p>
          <a:p>
            <a:pPr defTabSz="412750" hangingPunct="0"/>
            <a:endParaRPr lang="en-US" b="1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Helvetica"/>
            </a:endParaRPr>
          </a:p>
          <a:p>
            <a:pPr defTabSz="228600" hangingPunct="0">
              <a:defRPr sz="4100" b="1">
                <a:latin typeface="Arial"/>
                <a:ea typeface="Arial"/>
                <a:cs typeface="Arial"/>
                <a:sym typeface="Arial"/>
              </a:defRPr>
            </a:pPr>
            <a:endParaRPr b="1" i="1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69" name="We Deliver Research Excellence, Making Breakthroughs in…"/>
          <p:cNvSpPr txBox="1"/>
          <p:nvPr/>
        </p:nvSpPr>
        <p:spPr>
          <a:xfrm>
            <a:off x="6136125" y="332589"/>
            <a:ext cx="5909185" cy="22057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defTabSz="228600" hangingPunct="0">
              <a:defRPr sz="7000" b="1">
                <a:latin typeface="Arial"/>
                <a:ea typeface="Arial"/>
                <a:cs typeface="Arial"/>
                <a:sym typeface="Arial"/>
              </a:defRPr>
            </a:pPr>
            <a:r>
              <a:rPr lang="en-US" sz="28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We renew society with research-based knowledge, creativity and </a:t>
            </a:r>
            <a:r>
              <a:rPr lang="en-US" sz="2800" b="1" kern="0">
                <a:latin typeface="Arial"/>
                <a:cs typeface="Arial"/>
                <a:sym typeface="Arial"/>
              </a:rPr>
              <a:t>entrepreneurial mindset</a:t>
            </a:r>
            <a:r>
              <a:rPr lang="en-US" sz="28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  <a:br>
              <a:rPr lang="en-US" sz="2800" b="1" kern="0">
                <a:latin typeface="Arial"/>
                <a:cs typeface="Arial"/>
              </a:rPr>
            </a:br>
            <a:r>
              <a:rPr lang="en-US" sz="28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We generate innovative solutions to tackle global grand challenges.</a:t>
            </a:r>
          </a:p>
        </p:txBody>
      </p:sp>
      <p:sp>
        <p:nvSpPr>
          <p:cNvPr id="170" name="Circle"/>
          <p:cNvSpPr/>
          <p:nvPr/>
        </p:nvSpPr>
        <p:spPr>
          <a:xfrm rot="20598940">
            <a:off x="150130" y="158030"/>
            <a:ext cx="2513475" cy="2513475"/>
          </a:xfrm>
          <a:prstGeom prst="ellipse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 hangingPunct="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kern="0">
              <a:solidFill>
                <a:srgbClr val="FFFFFF"/>
              </a:solidFill>
              <a:latin typeface="Helvetica Neue Medium"/>
              <a:sym typeface="Helvetica Neue Medium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09156F9-1281-144D-B30D-692B00AD252E}"/>
              </a:ext>
            </a:extLst>
          </p:cNvPr>
          <p:cNvSpPr/>
          <p:nvPr/>
        </p:nvSpPr>
        <p:spPr>
          <a:xfrm>
            <a:off x="176157" y="1181540"/>
            <a:ext cx="2461420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12750" hangingPunct="0"/>
            <a:r>
              <a:rPr lang="fi-FI" sz="2700" b="1" kern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"/>
              </a:rPr>
              <a:t>Impact</a:t>
            </a:r>
            <a:endParaRPr lang="en-US" sz="2700" b="1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Helvetica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E21298C-EC68-404A-8523-334B516DC852}"/>
              </a:ext>
            </a:extLst>
          </p:cNvPr>
          <p:cNvCxnSpPr>
            <a:cxnSpLocks/>
          </p:cNvCxnSpPr>
          <p:nvPr/>
        </p:nvCxnSpPr>
        <p:spPr>
          <a:xfrm>
            <a:off x="6136125" y="3041272"/>
            <a:ext cx="702111" cy="0"/>
          </a:xfrm>
          <a:prstGeom prst="line">
            <a:avLst/>
          </a:prstGeom>
          <a:noFill/>
          <a:ln w="63500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98451337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4" name="Image" descr="Imag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073" y="5869977"/>
            <a:ext cx="2309112" cy="969258"/>
          </a:xfrm>
          <a:prstGeom prst="rect">
            <a:avLst/>
          </a:prstGeom>
          <a:ln w="12700">
            <a:miter lim="400000"/>
          </a:ln>
        </p:spPr>
      </p:pic>
      <p:sp>
        <p:nvSpPr>
          <p:cNvPr id="251" name="Radical…"/>
          <p:cNvSpPr txBox="1"/>
          <p:nvPr/>
        </p:nvSpPr>
        <p:spPr>
          <a:xfrm>
            <a:off x="557107" y="3971907"/>
            <a:ext cx="2999747" cy="7284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defTabSz="228600">
              <a:defRPr sz="5400" b="1">
                <a:solidFill>
                  <a:srgbClr val="FFCD00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2200" b="1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ea typeface="Arial"/>
                <a:cs typeface="Arial"/>
              </a:rPr>
              <a:t>Solutions</a:t>
            </a:r>
            <a:r>
              <a:rPr lang="en-US" sz="220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sz="2200" b="1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ea typeface="Arial"/>
                <a:cs typeface="Arial"/>
              </a:rPr>
              <a:t>for sustainability</a:t>
            </a:r>
          </a:p>
        </p:txBody>
      </p:sp>
      <p:sp>
        <p:nvSpPr>
          <p:cNvPr id="252" name="Flexible…"/>
          <p:cNvSpPr txBox="1"/>
          <p:nvPr/>
        </p:nvSpPr>
        <p:spPr>
          <a:xfrm>
            <a:off x="4406050" y="3971907"/>
            <a:ext cx="2587827" cy="728405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>
            <a:lvl1pPr defTabSz="457200">
              <a:lnSpc>
                <a:spcPts val="8100"/>
              </a:lnSpc>
              <a:defRPr sz="5400" b="1">
                <a:solidFill>
                  <a:srgbClr val="FFCD0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fi-FI" sz="2200" err="1">
                <a:solidFill>
                  <a:schemeClr val="tx1">
                    <a:lumMod val="95000"/>
                    <a:lumOff val="5000"/>
                  </a:schemeClr>
                </a:solidFill>
              </a:rPr>
              <a:t>Radical</a:t>
            </a:r>
            <a:r>
              <a:rPr lang="fi-FI" sz="220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</a:p>
          <a:p>
            <a:pPr algn="l">
              <a:lnSpc>
                <a:spcPct val="100000"/>
              </a:lnSpc>
            </a:pPr>
            <a:r>
              <a:rPr lang="fi-FI" sz="2200" err="1">
                <a:solidFill>
                  <a:schemeClr val="tx1">
                    <a:lumMod val="95000"/>
                    <a:lumOff val="5000"/>
                  </a:schemeClr>
                </a:solidFill>
              </a:rPr>
              <a:t>creativity</a:t>
            </a:r>
            <a:endParaRPr sz="220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53" name="Dynamic…"/>
          <p:cNvSpPr txBox="1"/>
          <p:nvPr/>
        </p:nvSpPr>
        <p:spPr>
          <a:xfrm>
            <a:off x="8269925" y="3971907"/>
            <a:ext cx="3203334" cy="1037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t">
            <a:noAutofit/>
          </a:bodyPr>
          <a:lstStyle/>
          <a:p>
            <a:pPr defTabSz="228600">
              <a:defRPr sz="5400" b="1">
                <a:solidFill>
                  <a:srgbClr val="FFCD00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2200">
                <a:solidFill>
                  <a:schemeClr val="tx1">
                    <a:lumMod val="95000"/>
                    <a:lumOff val="5000"/>
                  </a:schemeClr>
                </a:solidFill>
              </a:rPr>
              <a:t>Entrepreneurial </a:t>
            </a:r>
          </a:p>
          <a:p>
            <a:pPr defTabSz="228600">
              <a:defRPr sz="5400" b="1">
                <a:solidFill>
                  <a:srgbClr val="FFCD00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2200">
                <a:solidFill>
                  <a:schemeClr val="tx1">
                    <a:lumMod val="95000"/>
                    <a:lumOff val="5000"/>
                  </a:schemeClr>
                </a:solidFill>
              </a:rPr>
              <a:t>mindset</a:t>
            </a:r>
            <a:endParaRPr sz="220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54" name="Key Strategic Choices"/>
          <p:cNvSpPr txBox="1"/>
          <p:nvPr/>
        </p:nvSpPr>
        <p:spPr>
          <a:xfrm rot="21597083">
            <a:off x="532827" y="212279"/>
            <a:ext cx="12073533" cy="7284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defRPr sz="10800" b="1"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sz="4400">
                <a:latin typeface="Arial" panose="020B0604020202020204" pitchFamily="34" charset="0"/>
                <a:cs typeface="Arial" panose="020B0604020202020204" pitchFamily="34" charset="0"/>
              </a:rPr>
              <a:t>Our three cross-cutting approaches</a:t>
            </a:r>
          </a:p>
        </p:txBody>
      </p:sp>
      <p:sp>
        <p:nvSpPr>
          <p:cNvPr id="20" name="Lorem ipsum dolor sit amet, consectetur adipiscing elit.…">
            <a:extLst>
              <a:ext uri="{FF2B5EF4-FFF2-40B4-BE49-F238E27FC236}">
                <a16:creationId xmlns:a16="http://schemas.microsoft.com/office/drawing/2014/main" id="{B6E7163C-2DD5-5B46-BC6C-7869DA898CF4}"/>
              </a:ext>
            </a:extLst>
          </p:cNvPr>
          <p:cNvSpPr txBox="1"/>
          <p:nvPr/>
        </p:nvSpPr>
        <p:spPr>
          <a:xfrm>
            <a:off x="557107" y="4781465"/>
            <a:ext cx="2651763" cy="112851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l"/>
            <a:r>
              <a:rPr lang="en-US" sz="140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Actions: </a:t>
            </a:r>
            <a:r>
              <a:rPr lang="en-US" sz="1400" b="1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Connecting our strengths to create solutions for grand challenges, pioneering sustainable solutions in our operations</a:t>
            </a:r>
            <a:endParaRPr lang="fi-FI" sz="14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orem ipsum dolor sit amet, consectetur adipiscing elit.…">
            <a:extLst>
              <a:ext uri="{FF2B5EF4-FFF2-40B4-BE49-F238E27FC236}">
                <a16:creationId xmlns:a16="http://schemas.microsoft.com/office/drawing/2014/main" id="{DA91DB9F-10F7-C84D-B9D7-114EFE129437}"/>
              </a:ext>
            </a:extLst>
          </p:cNvPr>
          <p:cNvSpPr txBox="1"/>
          <p:nvPr/>
        </p:nvSpPr>
        <p:spPr>
          <a:xfrm>
            <a:off x="8269925" y="4781465"/>
            <a:ext cx="2651763" cy="15594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defTabSz="825500" hangingPunct="0"/>
            <a:r>
              <a:rPr lang="fi-FI" sz="1400" err="1">
                <a:latin typeface="Arial"/>
                <a:ea typeface="+mn-lt"/>
                <a:cs typeface="Arial"/>
              </a:rPr>
              <a:t>Actions</a:t>
            </a:r>
            <a:r>
              <a:rPr lang="fi-FI" sz="1400">
                <a:latin typeface="Arial"/>
                <a:ea typeface="+mn-lt"/>
                <a:cs typeface="Arial"/>
              </a:rPr>
              <a:t>: </a:t>
            </a:r>
            <a:r>
              <a:rPr lang="en-US" sz="1400" b="1">
                <a:latin typeface="Arial"/>
                <a:cs typeface="Arial"/>
                <a:sym typeface="Helvetica"/>
              </a:rPr>
              <a:t>Advancing entrepreneurial capabilities throughout our community, supporting student-driven activities and initiatives</a:t>
            </a:r>
            <a:endParaRPr lang="fi-FI" sz="1400" b="1">
              <a:latin typeface="Arial"/>
              <a:cs typeface="Arial"/>
              <a:sym typeface="Helvetica"/>
            </a:endParaRPr>
          </a:p>
          <a:p>
            <a:pPr algn="l"/>
            <a:endParaRPr lang="fi-FI" sz="1400" b="1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en-US" sz="1400" b="1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Lorem ipsum dolor sit amet, consectetur adipiscing elit.…">
            <a:extLst>
              <a:ext uri="{FF2B5EF4-FFF2-40B4-BE49-F238E27FC236}">
                <a16:creationId xmlns:a16="http://schemas.microsoft.com/office/drawing/2014/main" id="{DE696618-7266-634E-8768-14A770DFA45D}"/>
              </a:ext>
            </a:extLst>
          </p:cNvPr>
          <p:cNvSpPr txBox="1"/>
          <p:nvPr/>
        </p:nvSpPr>
        <p:spPr>
          <a:xfrm>
            <a:off x="4406050" y="4781465"/>
            <a:ext cx="2565989" cy="13593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defTabSz="412750" hangingPunct="0"/>
            <a:r>
              <a:rPr lang="en-US" sz="1400" kern="0">
                <a:latin typeface="Arial"/>
                <a:ea typeface="+mn-lt"/>
                <a:cs typeface="Arial"/>
                <a:sym typeface="Helvetica"/>
              </a:rPr>
              <a:t>Actions: </a:t>
            </a:r>
            <a:r>
              <a:rPr lang="en-US" sz="1400" b="1" kern="0">
                <a:latin typeface="Arial"/>
                <a:ea typeface="+mn-lt"/>
                <a:cs typeface="Arial"/>
                <a:sym typeface="Helvetica"/>
              </a:rPr>
              <a:t>Empowering an experimental culture by building the spaces and practices that encourage us to break boundaries and create</a:t>
            </a:r>
            <a:r>
              <a:rPr lang="en-US" sz="1500" b="1" kern="0">
                <a:latin typeface="Arial"/>
                <a:ea typeface="+mn-lt"/>
                <a:cs typeface="Arial"/>
                <a:sym typeface="Helvetica"/>
              </a:rPr>
              <a:t> </a:t>
            </a:r>
            <a:r>
              <a:rPr lang="en-US" sz="1400" b="1" kern="0">
                <a:latin typeface="Arial"/>
                <a:ea typeface="+mn-lt"/>
                <a:cs typeface="Arial"/>
                <a:sym typeface="Helvetica"/>
              </a:rPr>
              <a:t>novel perspectives </a:t>
            </a:r>
            <a:endParaRPr lang="en-US" sz="1400" b="1" ker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583A8E6-390D-4C3E-B057-FBDE008282C0}"/>
              </a:ext>
            </a:extLst>
          </p:cNvPr>
          <p:cNvSpPr txBox="1"/>
          <p:nvPr/>
        </p:nvSpPr>
        <p:spPr>
          <a:xfrm>
            <a:off x="532520" y="967360"/>
            <a:ext cx="11524593" cy="106695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fi-FI" sz="2200" b="1">
                <a:latin typeface="Arial"/>
                <a:cs typeface="Arial"/>
              </a:rPr>
              <a:t>Focus of </a:t>
            </a:r>
            <a:r>
              <a:rPr lang="fi-FI" sz="2200" b="1" err="1">
                <a:latin typeface="Arial"/>
                <a:cs typeface="Arial"/>
              </a:rPr>
              <a:t>development</a:t>
            </a:r>
            <a:r>
              <a:rPr lang="fi-FI" sz="2200" b="1">
                <a:latin typeface="Arial"/>
                <a:cs typeface="Arial"/>
              </a:rPr>
              <a:t>: </a:t>
            </a:r>
            <a:r>
              <a:rPr lang="fi-FI" sz="2200" kern="0" err="1">
                <a:latin typeface="Arial"/>
                <a:cs typeface="Arial"/>
                <a:sym typeface="Helvetica"/>
              </a:rPr>
              <a:t>We</a:t>
            </a:r>
            <a:r>
              <a:rPr lang="fi-FI" sz="2200" kern="0">
                <a:latin typeface="Arial"/>
                <a:cs typeface="Arial"/>
                <a:sym typeface="Helvetica"/>
              </a:rPr>
              <a:t> help </a:t>
            </a:r>
            <a:r>
              <a:rPr lang="fi-FI" sz="2200" kern="0" err="1">
                <a:latin typeface="Arial"/>
                <a:cs typeface="Arial"/>
                <a:sym typeface="Helvetica"/>
              </a:rPr>
              <a:t>solve</a:t>
            </a:r>
            <a:r>
              <a:rPr lang="fi-FI" sz="2200" kern="0">
                <a:latin typeface="Arial"/>
                <a:cs typeface="Arial"/>
                <a:sym typeface="Helvetica"/>
              </a:rPr>
              <a:t> </a:t>
            </a:r>
            <a:r>
              <a:rPr lang="fi-FI" sz="2200" kern="0" err="1">
                <a:latin typeface="Arial"/>
                <a:cs typeface="Arial"/>
                <a:sym typeface="Helvetica"/>
              </a:rPr>
              <a:t>grand</a:t>
            </a:r>
            <a:r>
              <a:rPr lang="fi-FI" sz="2200" kern="0">
                <a:latin typeface="Arial"/>
                <a:cs typeface="Arial"/>
                <a:sym typeface="Helvetica"/>
              </a:rPr>
              <a:t> </a:t>
            </a:r>
            <a:r>
              <a:rPr lang="fi-FI" sz="2200" kern="0" err="1">
                <a:latin typeface="Arial"/>
                <a:cs typeface="Arial"/>
                <a:sym typeface="Helvetica"/>
              </a:rPr>
              <a:t>challenges</a:t>
            </a:r>
            <a:r>
              <a:rPr lang="fi-FI" sz="2200" kern="0">
                <a:latin typeface="Arial"/>
                <a:cs typeface="Arial"/>
                <a:sym typeface="Helvetica"/>
              </a:rPr>
              <a:t> in and </a:t>
            </a:r>
            <a:r>
              <a:rPr lang="fi-FI" sz="2200" kern="0" err="1">
                <a:latin typeface="Arial"/>
                <a:cs typeface="Arial"/>
                <a:sym typeface="Helvetica"/>
              </a:rPr>
              <a:t>across</a:t>
            </a:r>
            <a:r>
              <a:rPr lang="fi-FI" sz="2200" kern="0">
                <a:latin typeface="Arial"/>
                <a:cs typeface="Arial"/>
                <a:sym typeface="Helvetica"/>
              </a:rPr>
              <a:t> </a:t>
            </a:r>
            <a:r>
              <a:rPr lang="fi-FI" sz="2200" kern="0" err="1">
                <a:latin typeface="Arial"/>
                <a:cs typeface="Arial"/>
                <a:sym typeface="Helvetica"/>
              </a:rPr>
              <a:t>our</a:t>
            </a:r>
            <a:r>
              <a:rPr lang="fi-FI" sz="2200" kern="0">
                <a:latin typeface="Arial"/>
                <a:cs typeface="Arial"/>
                <a:sym typeface="Helvetica"/>
              </a:rPr>
              <a:t> </a:t>
            </a:r>
            <a:r>
              <a:rPr lang="fi-FI" sz="2200" kern="0" err="1">
                <a:latin typeface="Arial"/>
                <a:cs typeface="Arial"/>
                <a:sym typeface="Helvetica"/>
              </a:rPr>
              <a:t>key</a:t>
            </a:r>
            <a:r>
              <a:rPr lang="fi-FI" sz="2200" kern="0">
                <a:latin typeface="Arial"/>
                <a:cs typeface="Arial"/>
                <a:sym typeface="Helvetica"/>
              </a:rPr>
              <a:t> </a:t>
            </a:r>
            <a:r>
              <a:rPr lang="fi-FI" sz="2200" kern="0" err="1">
                <a:latin typeface="Arial"/>
                <a:cs typeface="Arial"/>
                <a:sym typeface="Helvetica"/>
              </a:rPr>
              <a:t>areas</a:t>
            </a:r>
            <a:r>
              <a:rPr lang="fi-FI" sz="2200" kern="0">
                <a:latin typeface="Arial"/>
                <a:cs typeface="Arial"/>
                <a:sym typeface="Helvetica"/>
              </a:rPr>
              <a:t>. </a:t>
            </a:r>
            <a:r>
              <a:rPr lang="fi-FI" sz="2200" kern="0" err="1">
                <a:latin typeface="Arial"/>
                <a:cs typeface="Arial"/>
                <a:sym typeface="Helvetica"/>
              </a:rPr>
              <a:t>We</a:t>
            </a:r>
            <a:r>
              <a:rPr lang="fi-FI" sz="2200" kern="0">
                <a:latin typeface="Arial"/>
                <a:cs typeface="Arial"/>
                <a:sym typeface="Helvetica"/>
              </a:rPr>
              <a:t> </a:t>
            </a:r>
            <a:r>
              <a:rPr lang="fi-FI" sz="2200" kern="0" err="1">
                <a:latin typeface="Arial"/>
                <a:cs typeface="Arial"/>
                <a:sym typeface="Helvetica"/>
              </a:rPr>
              <a:t>build</a:t>
            </a:r>
            <a:r>
              <a:rPr lang="fi-FI" sz="2200" kern="0">
                <a:latin typeface="Arial"/>
                <a:cs typeface="Arial"/>
                <a:sym typeface="Helvetica"/>
              </a:rPr>
              <a:t> an </a:t>
            </a:r>
            <a:r>
              <a:rPr lang="fi-FI" sz="2200" kern="0" err="1">
                <a:latin typeface="Arial"/>
                <a:cs typeface="Arial"/>
                <a:sym typeface="Helvetica"/>
              </a:rPr>
              <a:t>outstanding</a:t>
            </a:r>
            <a:r>
              <a:rPr lang="fi-FI" sz="2200" kern="0">
                <a:latin typeface="Arial"/>
                <a:cs typeface="Arial"/>
                <a:sym typeface="Helvetica"/>
              </a:rPr>
              <a:t> </a:t>
            </a:r>
            <a:r>
              <a:rPr lang="fi-FI" sz="2200" kern="0" err="1">
                <a:latin typeface="Arial"/>
                <a:cs typeface="Arial"/>
                <a:sym typeface="Helvetica"/>
              </a:rPr>
              <a:t>creative</a:t>
            </a:r>
            <a:r>
              <a:rPr lang="fi-FI" sz="2200" kern="0">
                <a:latin typeface="Arial"/>
                <a:cs typeface="Arial"/>
                <a:sym typeface="Helvetica"/>
              </a:rPr>
              <a:t> </a:t>
            </a:r>
            <a:r>
              <a:rPr lang="fi-FI" sz="2200" kern="0" err="1">
                <a:latin typeface="Arial"/>
                <a:cs typeface="Arial"/>
                <a:sym typeface="Helvetica"/>
              </a:rPr>
              <a:t>community</a:t>
            </a:r>
            <a:r>
              <a:rPr lang="fi-FI" sz="2200" kern="0">
                <a:latin typeface="Arial"/>
                <a:cs typeface="Arial"/>
                <a:sym typeface="Helvetica"/>
              </a:rPr>
              <a:t> for </a:t>
            </a:r>
            <a:r>
              <a:rPr lang="fi-FI" sz="2200" kern="0" err="1">
                <a:latin typeface="Arial"/>
                <a:cs typeface="Arial"/>
                <a:sym typeface="Helvetica"/>
              </a:rPr>
              <a:t>new</a:t>
            </a:r>
            <a:r>
              <a:rPr lang="fi-FI" sz="2200" kern="0">
                <a:latin typeface="Arial"/>
                <a:cs typeface="Arial"/>
                <a:sym typeface="Helvetica"/>
              </a:rPr>
              <a:t> </a:t>
            </a:r>
            <a:r>
              <a:rPr lang="fi-FI" sz="2200" kern="0" err="1">
                <a:latin typeface="Arial"/>
                <a:cs typeface="Arial"/>
                <a:sym typeface="Helvetica"/>
              </a:rPr>
              <a:t>thinking</a:t>
            </a:r>
            <a:r>
              <a:rPr lang="fi-FI" sz="2200" kern="0">
                <a:latin typeface="Arial"/>
                <a:cs typeface="Arial"/>
                <a:sym typeface="Helvetica"/>
              </a:rPr>
              <a:t>. </a:t>
            </a:r>
            <a:r>
              <a:rPr lang="fi-FI" sz="2200" kern="0" err="1">
                <a:latin typeface="Arial"/>
                <a:cs typeface="Arial"/>
                <a:sym typeface="Helvetica"/>
              </a:rPr>
              <a:t>We</a:t>
            </a:r>
            <a:r>
              <a:rPr lang="fi-FI" sz="2200" kern="0">
                <a:latin typeface="Arial"/>
                <a:cs typeface="Arial"/>
                <a:sym typeface="Helvetica"/>
              </a:rPr>
              <a:t> </a:t>
            </a:r>
            <a:r>
              <a:rPr lang="fi-FI" sz="2200" kern="0" err="1">
                <a:latin typeface="Arial"/>
                <a:cs typeface="Arial"/>
                <a:sym typeface="Helvetica"/>
              </a:rPr>
              <a:t>foster</a:t>
            </a:r>
            <a:r>
              <a:rPr lang="fi-FI" sz="2200" kern="0">
                <a:latin typeface="Arial"/>
                <a:cs typeface="Arial"/>
                <a:sym typeface="Helvetica"/>
              </a:rPr>
              <a:t> an </a:t>
            </a:r>
            <a:r>
              <a:rPr lang="fi-FI" sz="2200" kern="0" err="1">
                <a:latin typeface="Arial"/>
                <a:cs typeface="Arial"/>
                <a:sym typeface="Helvetica"/>
              </a:rPr>
              <a:t>inspiring</a:t>
            </a:r>
            <a:r>
              <a:rPr lang="fi-FI" sz="2200" kern="0">
                <a:latin typeface="Arial"/>
                <a:cs typeface="Arial"/>
                <a:sym typeface="Helvetica"/>
              </a:rPr>
              <a:t> </a:t>
            </a:r>
            <a:r>
              <a:rPr lang="fi-FI" sz="2200" kern="0" err="1">
                <a:latin typeface="Arial"/>
                <a:cs typeface="Arial"/>
                <a:sym typeface="Helvetica"/>
              </a:rPr>
              <a:t>entrepreneurial</a:t>
            </a:r>
            <a:r>
              <a:rPr lang="fi-FI" sz="2200" kern="0">
                <a:latin typeface="Arial"/>
                <a:cs typeface="Arial"/>
                <a:sym typeface="Helvetica"/>
              </a:rPr>
              <a:t> culture.</a:t>
            </a:r>
            <a:endParaRPr lang="en-US" sz="2200">
              <a:latin typeface="Arial"/>
              <a:cs typeface="Arial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0C83A65-6AD7-624E-9CD2-56F0ADA1653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69925" y="2221479"/>
            <a:ext cx="2440868" cy="1626595"/>
          </a:xfrm>
          <a:prstGeom prst="rect">
            <a:avLst/>
          </a:prstGeom>
        </p:spPr>
      </p:pic>
      <p:pic>
        <p:nvPicPr>
          <p:cNvPr id="4" name="Picture 3" descr="A group of palm trees&#10;&#10;Description automatically generated">
            <a:extLst>
              <a:ext uri="{FF2B5EF4-FFF2-40B4-BE49-F238E27FC236}">
                <a16:creationId xmlns:a16="http://schemas.microsoft.com/office/drawing/2014/main" id="{677D02A4-7EE3-2346-B16A-4689FE33E25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06050" y="2221479"/>
            <a:ext cx="2353452" cy="1567122"/>
          </a:xfrm>
          <a:prstGeom prst="rect">
            <a:avLst/>
          </a:prstGeom>
        </p:spPr>
      </p:pic>
      <p:pic>
        <p:nvPicPr>
          <p:cNvPr id="18" name="Picture 17" descr="A picture containing orange, table, glasses, pair&#10;&#10;Description automatically generated">
            <a:extLst>
              <a:ext uri="{FF2B5EF4-FFF2-40B4-BE49-F238E27FC236}">
                <a16:creationId xmlns:a16="http://schemas.microsoft.com/office/drawing/2014/main" id="{84B40AC8-4ED4-204D-9F76-5E8F9D76D321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7107" y="2221479"/>
            <a:ext cx="2349408" cy="1566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327765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4" name="Image" descr="Imag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073" y="5869977"/>
            <a:ext cx="2309112" cy="969258"/>
          </a:xfrm>
          <a:prstGeom prst="rect">
            <a:avLst/>
          </a:prstGeom>
          <a:ln w="12700">
            <a:miter lim="400000"/>
          </a:ln>
        </p:spPr>
      </p:pic>
      <p:sp>
        <p:nvSpPr>
          <p:cNvPr id="251" name="Radical…"/>
          <p:cNvSpPr txBox="1"/>
          <p:nvPr/>
        </p:nvSpPr>
        <p:spPr>
          <a:xfrm>
            <a:off x="532507" y="3932056"/>
            <a:ext cx="3885367" cy="7284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defTabSz="228600" hangingPunct="0">
              <a:defRPr sz="5400" b="1">
                <a:solidFill>
                  <a:srgbClr val="FFCD00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fi-FI" sz="2200" b="1" kern="0" err="1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  <a:sym typeface="Arial"/>
              </a:rPr>
              <a:t>Community</a:t>
            </a:r>
            <a:r>
              <a:rPr lang="fi-FI" sz="2200" b="1" ker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  <a:sym typeface="Arial"/>
              </a:rPr>
              <a:t> </a:t>
            </a:r>
            <a:br>
              <a:rPr lang="fi-FI" sz="2200" b="1" ker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  <a:sym typeface="Arial"/>
              </a:rPr>
            </a:br>
            <a:r>
              <a:rPr lang="fi-FI" sz="2200" b="1" ker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  <a:sym typeface="Arial"/>
              </a:rPr>
              <a:t>&amp; </a:t>
            </a:r>
            <a:r>
              <a:rPr lang="fi-FI" sz="2200" b="1" kern="0" err="1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  <a:sym typeface="Arial"/>
              </a:rPr>
              <a:t>people</a:t>
            </a:r>
            <a:endParaRPr sz="2200" b="1" kern="0">
              <a:solidFill>
                <a:schemeClr val="tx1">
                  <a:lumMod val="95000"/>
                  <a:lumOff val="5000"/>
                </a:scheme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2" name="Flexible…"/>
          <p:cNvSpPr txBox="1"/>
          <p:nvPr/>
        </p:nvSpPr>
        <p:spPr>
          <a:xfrm>
            <a:off x="4355410" y="3889858"/>
            <a:ext cx="2587827" cy="7284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defTabSz="457200">
              <a:lnSpc>
                <a:spcPts val="8100"/>
              </a:lnSpc>
              <a:defRPr sz="5400" b="1">
                <a:solidFill>
                  <a:srgbClr val="FFCD0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228600" hangingPunct="0">
              <a:lnSpc>
                <a:spcPct val="100000"/>
              </a:lnSpc>
            </a:pPr>
            <a:r>
              <a:rPr lang="fi-FI" sz="2200" kern="0" err="1">
                <a:solidFill>
                  <a:schemeClr val="tx1"/>
                </a:solidFill>
              </a:rPr>
              <a:t>Infrastructures</a:t>
            </a:r>
            <a:br>
              <a:rPr lang="fi-FI" sz="2200" kern="0">
                <a:solidFill>
                  <a:schemeClr val="tx1"/>
                </a:solidFill>
              </a:rPr>
            </a:br>
            <a:r>
              <a:rPr lang="fi-FI" sz="2200" kern="0">
                <a:solidFill>
                  <a:schemeClr val="tx1"/>
                </a:solidFill>
              </a:rPr>
              <a:t>&amp; campus </a:t>
            </a:r>
            <a:endParaRPr sz="2200" kern="0">
              <a:solidFill>
                <a:schemeClr val="tx1"/>
              </a:solidFill>
            </a:endParaRPr>
          </a:p>
        </p:txBody>
      </p:sp>
      <p:sp>
        <p:nvSpPr>
          <p:cNvPr id="253" name="Dynamic…"/>
          <p:cNvSpPr txBox="1"/>
          <p:nvPr/>
        </p:nvSpPr>
        <p:spPr>
          <a:xfrm>
            <a:off x="8245325" y="3777336"/>
            <a:ext cx="3203334" cy="10378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 anchor="ctr">
            <a:noAutofit/>
          </a:bodyPr>
          <a:lstStyle/>
          <a:p>
            <a:pPr defTabSz="228600" hangingPunct="0">
              <a:defRPr sz="5400" b="1">
                <a:solidFill>
                  <a:srgbClr val="FFCD00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2200" b="1" ker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  <a:sym typeface="Arial"/>
              </a:rPr>
              <a:t>Services &amp; </a:t>
            </a:r>
            <a:br>
              <a:rPr lang="en-US" sz="2200" b="1" ker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  <a:sym typeface="Arial"/>
              </a:rPr>
            </a:br>
            <a:r>
              <a:rPr lang="en-US" sz="2200" b="1" ker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  <a:sym typeface="Arial"/>
              </a:rPr>
              <a:t>resources</a:t>
            </a:r>
            <a:endParaRPr sz="2200" b="1" kern="0">
              <a:solidFill>
                <a:schemeClr val="tx1">
                  <a:lumMod val="95000"/>
                  <a:lumOff val="5000"/>
                </a:scheme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4" name="Key Strategic Choices"/>
          <p:cNvSpPr txBox="1"/>
          <p:nvPr/>
        </p:nvSpPr>
        <p:spPr>
          <a:xfrm rot="21597083">
            <a:off x="532814" y="201152"/>
            <a:ext cx="12073533" cy="7284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defRPr sz="10800" b="1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412750" hangingPunct="0"/>
            <a:r>
              <a:rPr lang="fi-FI" sz="4400" kern="0" err="1">
                <a:solidFill>
                  <a:srgbClr val="000000"/>
                </a:solidFill>
              </a:rPr>
              <a:t>Enabling</a:t>
            </a:r>
            <a:r>
              <a:rPr lang="fi-FI" sz="4400" kern="0">
                <a:solidFill>
                  <a:srgbClr val="000000"/>
                </a:solidFill>
              </a:rPr>
              <a:t> </a:t>
            </a:r>
            <a:r>
              <a:rPr lang="fi-FI" sz="4400" kern="0" err="1">
                <a:solidFill>
                  <a:srgbClr val="000000"/>
                </a:solidFill>
              </a:rPr>
              <a:t>our</a:t>
            </a:r>
            <a:r>
              <a:rPr lang="fi-FI" sz="4400" kern="0">
                <a:solidFill>
                  <a:srgbClr val="000000"/>
                </a:solidFill>
              </a:rPr>
              <a:t> </a:t>
            </a:r>
            <a:r>
              <a:rPr lang="fi-FI" sz="4400" kern="0" err="1">
                <a:solidFill>
                  <a:srgbClr val="000000"/>
                </a:solidFill>
              </a:rPr>
              <a:t>success</a:t>
            </a:r>
            <a:endParaRPr sz="4400" kern="0">
              <a:solidFill>
                <a:srgbClr val="000000"/>
              </a:solidFill>
            </a:endParaRPr>
          </a:p>
        </p:txBody>
      </p:sp>
      <p:sp>
        <p:nvSpPr>
          <p:cNvPr id="20" name="Lorem ipsum dolor sit amet, consectetur adipiscing elit.…">
            <a:extLst>
              <a:ext uri="{FF2B5EF4-FFF2-40B4-BE49-F238E27FC236}">
                <a16:creationId xmlns:a16="http://schemas.microsoft.com/office/drawing/2014/main" id="{B6E7163C-2DD5-5B46-BC6C-7869DA898CF4}"/>
              </a:ext>
            </a:extLst>
          </p:cNvPr>
          <p:cNvSpPr txBox="1"/>
          <p:nvPr/>
        </p:nvSpPr>
        <p:spPr>
          <a:xfrm>
            <a:off x="532507" y="4779319"/>
            <a:ext cx="2651763" cy="9130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defTabSz="412750" hangingPunct="0"/>
            <a:r>
              <a:rPr lang="fi-FI" sz="1400" kern="0" err="1">
                <a:solidFill>
                  <a:srgbClr val="000000"/>
                </a:solidFill>
                <a:latin typeface="Arial"/>
                <a:ea typeface="+mn-lt"/>
                <a:cs typeface="Helvetica"/>
                <a:sym typeface="Helvetica"/>
              </a:rPr>
              <a:t>Actions</a:t>
            </a:r>
            <a:r>
              <a:rPr lang="fi-FI" sz="1400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Helvetica"/>
              </a:rPr>
              <a:t>: </a:t>
            </a:r>
            <a:r>
              <a:rPr lang="fi-FI" sz="1400" b="1" kern="0" err="1">
                <a:solidFill>
                  <a:srgbClr val="000000"/>
                </a:solidFill>
                <a:latin typeface="Arial"/>
                <a:ea typeface="+mn-lt"/>
                <a:cs typeface="Helvetica"/>
                <a:sym typeface="Helvetica"/>
              </a:rPr>
              <a:t>Developing</a:t>
            </a:r>
            <a:r>
              <a:rPr lang="fi-FI" sz="140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Helvetica"/>
              </a:rPr>
              <a:t> </a:t>
            </a:r>
            <a:r>
              <a:rPr lang="fi-FI" sz="1400" b="1" kern="0" err="1">
                <a:solidFill>
                  <a:srgbClr val="000000"/>
                </a:solidFill>
                <a:latin typeface="Arial"/>
                <a:ea typeface="+mn-lt"/>
                <a:cs typeface="Helvetica"/>
                <a:sym typeface="Helvetica"/>
              </a:rPr>
              <a:t>our</a:t>
            </a:r>
            <a:r>
              <a:rPr lang="fi-FI" sz="140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Helvetica"/>
              </a:rPr>
              <a:t> culture of </a:t>
            </a:r>
            <a:r>
              <a:rPr lang="fi-FI" sz="1400" b="1" kern="0" err="1">
                <a:solidFill>
                  <a:srgbClr val="000000"/>
                </a:solidFill>
                <a:latin typeface="Arial"/>
                <a:ea typeface="+mn-lt"/>
                <a:cs typeface="Helvetica"/>
                <a:sym typeface="Helvetica"/>
              </a:rPr>
              <a:t>inclusion</a:t>
            </a:r>
            <a:r>
              <a:rPr lang="fi-FI" sz="140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Helvetica"/>
              </a:rPr>
              <a:t>, </a:t>
            </a:r>
            <a:r>
              <a:rPr lang="fi-FI" sz="1400" b="1" kern="0" err="1">
                <a:solidFill>
                  <a:srgbClr val="000000"/>
                </a:solidFill>
                <a:latin typeface="Arial"/>
                <a:ea typeface="+mn-lt"/>
                <a:cs typeface="Helvetica"/>
                <a:sym typeface="Helvetica"/>
              </a:rPr>
              <a:t>curiosity</a:t>
            </a:r>
            <a:r>
              <a:rPr lang="fi-FI" sz="140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Helvetica"/>
              </a:rPr>
              <a:t>, </a:t>
            </a:r>
            <a:r>
              <a:rPr lang="fi-FI" sz="1400" b="1" kern="0" err="1">
                <a:solidFill>
                  <a:srgbClr val="000000"/>
                </a:solidFill>
                <a:latin typeface="Arial"/>
                <a:ea typeface="+mn-lt"/>
                <a:cs typeface="Helvetica"/>
                <a:sym typeface="Helvetica"/>
              </a:rPr>
              <a:t>collaboration</a:t>
            </a:r>
            <a:r>
              <a:rPr lang="fi-FI" sz="140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Helvetica"/>
              </a:rPr>
              <a:t> and </a:t>
            </a:r>
            <a:r>
              <a:rPr lang="fi-FI" sz="1400" b="1" kern="0" err="1">
                <a:solidFill>
                  <a:srgbClr val="000000"/>
                </a:solidFill>
                <a:latin typeface="Arial"/>
                <a:ea typeface="+mn-lt"/>
                <a:cs typeface="Helvetica"/>
                <a:sym typeface="Helvetica"/>
              </a:rPr>
              <a:t>wellbeing</a:t>
            </a:r>
            <a:r>
              <a:rPr lang="fi-FI" sz="140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Helvetica"/>
              </a:rPr>
              <a:t> as </a:t>
            </a:r>
            <a:r>
              <a:rPr lang="fi-FI" sz="1400" b="1" kern="0" err="1">
                <a:solidFill>
                  <a:srgbClr val="000000"/>
                </a:solidFill>
                <a:latin typeface="Arial"/>
                <a:ea typeface="+mn-lt"/>
                <a:cs typeface="Helvetica"/>
                <a:sym typeface="Helvetica"/>
              </a:rPr>
              <a:t>our</a:t>
            </a:r>
            <a:r>
              <a:rPr lang="fi-FI" sz="140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Helvetica"/>
              </a:rPr>
              <a:t> </a:t>
            </a:r>
            <a:r>
              <a:rPr lang="fi-FI" sz="1400" b="1" kern="0" err="1">
                <a:solidFill>
                  <a:srgbClr val="000000"/>
                </a:solidFill>
                <a:latin typeface="Arial"/>
                <a:ea typeface="+mn-lt"/>
                <a:cs typeface="Helvetica"/>
                <a:sym typeface="Helvetica"/>
              </a:rPr>
              <a:t>competitive</a:t>
            </a:r>
            <a:r>
              <a:rPr lang="fi-FI" sz="140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Helvetica"/>
              </a:rPr>
              <a:t> </a:t>
            </a:r>
            <a:r>
              <a:rPr lang="fi-FI" sz="1400" b="1" kern="0" err="1">
                <a:solidFill>
                  <a:srgbClr val="000000"/>
                </a:solidFill>
                <a:latin typeface="Arial"/>
                <a:ea typeface="+mn-lt"/>
                <a:cs typeface="Helvetica"/>
                <a:sym typeface="Helvetica"/>
              </a:rPr>
              <a:t>edge</a:t>
            </a:r>
            <a:r>
              <a:rPr lang="fi-FI" sz="140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Helvetica"/>
              </a:rPr>
              <a:t>.</a:t>
            </a:r>
            <a:endParaRPr lang="fi-FI" sz="1400" b="1" kern="0">
              <a:solidFill>
                <a:srgbClr val="FF0000"/>
              </a:solidFill>
              <a:latin typeface="Helvetica"/>
              <a:cs typeface="Helvetica"/>
              <a:sym typeface="Helvetica"/>
            </a:endParaRPr>
          </a:p>
        </p:txBody>
      </p:sp>
      <p:sp>
        <p:nvSpPr>
          <p:cNvPr id="22" name="Lorem ipsum dolor sit amet, consectetur adipiscing elit.…">
            <a:extLst>
              <a:ext uri="{FF2B5EF4-FFF2-40B4-BE49-F238E27FC236}">
                <a16:creationId xmlns:a16="http://schemas.microsoft.com/office/drawing/2014/main" id="{DA91DB9F-10F7-C84D-B9D7-114EFE129437}"/>
              </a:ext>
            </a:extLst>
          </p:cNvPr>
          <p:cNvSpPr txBox="1"/>
          <p:nvPr/>
        </p:nvSpPr>
        <p:spPr>
          <a:xfrm>
            <a:off x="8230449" y="4779319"/>
            <a:ext cx="2651763" cy="15594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defTabSz="412750" hangingPunct="0"/>
            <a:r>
              <a:rPr lang="fi-FI" sz="1400" kern="0" err="1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  <a:sym typeface="Helvetica"/>
              </a:rPr>
              <a:t>Actions</a:t>
            </a:r>
            <a:r>
              <a:rPr lang="fi-FI" sz="1400" kern="0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  <a:sym typeface="Helvetica"/>
              </a:rPr>
              <a:t>: </a:t>
            </a:r>
            <a:r>
              <a:rPr lang="fi-FI" sz="1400" b="1" kern="0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  <a:sym typeface="Helvetica"/>
              </a:rPr>
              <a:t>Building </a:t>
            </a:r>
            <a:r>
              <a:rPr lang="fi-FI" sz="1400" b="1" kern="0" err="1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  <a:sym typeface="Helvetica"/>
              </a:rPr>
              <a:t>dynamic</a:t>
            </a:r>
            <a:r>
              <a:rPr lang="fi-FI" sz="1400" b="1" kern="0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  <a:sym typeface="Helvetica"/>
              </a:rPr>
              <a:t> </a:t>
            </a:r>
            <a:r>
              <a:rPr lang="fi-FI" sz="1400" b="1" kern="0" err="1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  <a:sym typeface="Helvetica"/>
              </a:rPr>
              <a:t>service</a:t>
            </a:r>
            <a:r>
              <a:rPr lang="fi-FI" sz="1400" b="1" kern="0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  <a:sym typeface="Helvetica"/>
              </a:rPr>
              <a:t> </a:t>
            </a:r>
            <a:r>
              <a:rPr lang="fi-FI" sz="1400" b="1" kern="0" err="1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  <a:sym typeface="Helvetica"/>
              </a:rPr>
              <a:t>solutions</a:t>
            </a:r>
            <a:r>
              <a:rPr lang="fi-FI" sz="1400" b="1" kern="0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  <a:sym typeface="Helvetica"/>
              </a:rPr>
              <a:t> and data-</a:t>
            </a:r>
            <a:r>
              <a:rPr lang="fi-FI" sz="1400" b="1" kern="0" err="1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  <a:sym typeface="Helvetica"/>
              </a:rPr>
              <a:t>driven</a:t>
            </a:r>
            <a:r>
              <a:rPr lang="fi-FI" sz="1400" b="1" kern="0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  <a:sym typeface="Helvetica"/>
              </a:rPr>
              <a:t> </a:t>
            </a:r>
            <a:r>
              <a:rPr lang="fi-FI" sz="1400" b="1" kern="0" err="1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  <a:sym typeface="Helvetica"/>
              </a:rPr>
              <a:t>operations</a:t>
            </a:r>
            <a:r>
              <a:rPr lang="fi-FI" sz="1400" b="1" kern="0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  <a:sym typeface="Helvetica"/>
              </a:rPr>
              <a:t>. </a:t>
            </a:r>
            <a:r>
              <a:rPr lang="fi-FI" sz="1400" b="1" kern="0" err="1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  <a:sym typeface="Helvetica"/>
              </a:rPr>
              <a:t>Strengthening</a:t>
            </a:r>
            <a:r>
              <a:rPr lang="fi-FI" sz="1400" b="1" kern="0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  <a:sym typeface="Helvetica"/>
              </a:rPr>
              <a:t> </a:t>
            </a:r>
            <a:r>
              <a:rPr lang="fi-FI" sz="1400" b="1" kern="0" err="1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  <a:sym typeface="Helvetica"/>
              </a:rPr>
              <a:t>our</a:t>
            </a:r>
            <a:r>
              <a:rPr lang="fi-FI" sz="1400" b="1" kern="0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  <a:sym typeface="Helvetica"/>
              </a:rPr>
              <a:t> </a:t>
            </a:r>
            <a:r>
              <a:rPr lang="fi-FI" sz="1400" b="1" kern="0" err="1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  <a:sym typeface="Helvetica"/>
              </a:rPr>
              <a:t>financial</a:t>
            </a:r>
            <a:r>
              <a:rPr lang="fi-FI" sz="1400" b="1" kern="0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  <a:sym typeface="Helvetica"/>
              </a:rPr>
              <a:t> </a:t>
            </a:r>
            <a:r>
              <a:rPr lang="fi-FI" sz="1400" b="1" kern="0" err="1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  <a:sym typeface="Helvetica"/>
              </a:rPr>
              <a:t>resilience</a:t>
            </a:r>
            <a:r>
              <a:rPr lang="fi-FI" sz="1400" b="1" kern="0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  <a:sym typeface="Helvetica"/>
              </a:rPr>
              <a:t>. </a:t>
            </a:r>
            <a:endParaRPr lang="en-US" sz="1400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Helvetica"/>
            </a:endParaRPr>
          </a:p>
          <a:p>
            <a:pPr defTabSz="412750" hangingPunct="0"/>
            <a:endParaRPr lang="fi-FI" sz="1400" b="1" ker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  <a:sym typeface="Helvetica"/>
            </a:endParaRPr>
          </a:p>
          <a:p>
            <a:pPr defTabSz="412750" hangingPunct="0"/>
            <a:endParaRPr lang="en-US" sz="1400" b="1" ker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  <a:sym typeface="Helvetica"/>
            </a:endParaRPr>
          </a:p>
        </p:txBody>
      </p:sp>
      <p:sp>
        <p:nvSpPr>
          <p:cNvPr id="13" name="Lorem ipsum dolor sit amet, consectetur adipiscing elit.…">
            <a:extLst>
              <a:ext uri="{FF2B5EF4-FFF2-40B4-BE49-F238E27FC236}">
                <a16:creationId xmlns:a16="http://schemas.microsoft.com/office/drawing/2014/main" id="{DE696618-7266-634E-8768-14A770DFA45D}"/>
              </a:ext>
            </a:extLst>
          </p:cNvPr>
          <p:cNvSpPr txBox="1"/>
          <p:nvPr/>
        </p:nvSpPr>
        <p:spPr>
          <a:xfrm>
            <a:off x="4345082" y="4779319"/>
            <a:ext cx="2565989" cy="112851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defTabSz="412750" hangingPunct="0"/>
            <a:r>
              <a:rPr lang="en-US" sz="1400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Actions: </a:t>
            </a:r>
            <a:r>
              <a:rPr lang="en-US" sz="14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Investing in open, state-of-the-art physical &amp; digital infrastructures,</a:t>
            </a:r>
            <a:r>
              <a:rPr lang="en-US" sz="1400" b="1" kern="0">
                <a:latin typeface="Arial"/>
                <a:cs typeface="Arial"/>
                <a:sym typeface="Helvetica"/>
              </a:rPr>
              <a:t> and campus environment</a:t>
            </a:r>
            <a:r>
              <a:rPr lang="en-US" sz="1400" b="1" kern="0">
                <a:solidFill>
                  <a:srgbClr val="FF0000"/>
                </a:solidFill>
                <a:latin typeface="Arial"/>
                <a:cs typeface="Arial"/>
                <a:sym typeface="Helvetica"/>
              </a:rPr>
              <a:t> </a:t>
            </a:r>
            <a:r>
              <a:rPr lang="en-US" sz="14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as long-term assets.</a:t>
            </a:r>
            <a:endParaRPr lang="en-US" sz="1400" b="1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Helvetica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583A8E6-390D-4C3E-B057-FBDE008282C0}"/>
              </a:ext>
            </a:extLst>
          </p:cNvPr>
          <p:cNvSpPr txBox="1"/>
          <p:nvPr/>
        </p:nvSpPr>
        <p:spPr>
          <a:xfrm>
            <a:off x="532507" y="1025096"/>
            <a:ext cx="11524593" cy="72840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412750" hangingPunct="0"/>
            <a:r>
              <a:rPr lang="fi-FI" sz="2200" b="1" kern="0">
                <a:latin typeface="Arial"/>
                <a:ea typeface="Arial"/>
                <a:cs typeface="Arial"/>
                <a:sym typeface="Helvetica"/>
              </a:rPr>
              <a:t>Focus of </a:t>
            </a:r>
            <a:r>
              <a:rPr lang="fi-FI" sz="2200" b="1" kern="0" err="1">
                <a:latin typeface="Arial"/>
                <a:ea typeface="Arial"/>
                <a:cs typeface="Arial"/>
                <a:sym typeface="Helvetica"/>
              </a:rPr>
              <a:t>development</a:t>
            </a:r>
            <a:r>
              <a:rPr lang="fi-FI" sz="2200" b="1" kern="0">
                <a:latin typeface="Arial"/>
                <a:ea typeface="Arial"/>
                <a:cs typeface="Arial"/>
                <a:sym typeface="Helvetica"/>
              </a:rPr>
              <a:t>: </a:t>
            </a:r>
            <a:r>
              <a:rPr lang="fi-FI" sz="2200" kern="0" err="1">
                <a:latin typeface="Arial"/>
                <a:cs typeface="Arial"/>
                <a:sym typeface="Helvetica"/>
              </a:rPr>
              <a:t>We</a:t>
            </a:r>
            <a:r>
              <a:rPr lang="fi-FI" sz="2200" kern="0">
                <a:latin typeface="Arial"/>
                <a:cs typeface="Arial"/>
                <a:sym typeface="Helvetica"/>
              </a:rPr>
              <a:t> </a:t>
            </a:r>
            <a:r>
              <a:rPr lang="fi-FI" sz="2200" kern="0" err="1">
                <a:latin typeface="Arial"/>
                <a:cs typeface="Arial"/>
                <a:sym typeface="Helvetica"/>
              </a:rPr>
              <a:t>invest</a:t>
            </a:r>
            <a:r>
              <a:rPr lang="fi-FI" sz="2200" kern="0">
                <a:latin typeface="Arial"/>
                <a:cs typeface="Arial"/>
                <a:sym typeface="Helvetica"/>
              </a:rPr>
              <a:t> in </a:t>
            </a:r>
            <a:r>
              <a:rPr lang="fi-FI" sz="2200" kern="0" err="1">
                <a:latin typeface="Arial"/>
                <a:cs typeface="Arial"/>
                <a:sym typeface="Helvetica"/>
              </a:rPr>
              <a:t>our</a:t>
            </a:r>
            <a:r>
              <a:rPr lang="fi-FI" sz="2200" kern="0">
                <a:latin typeface="Arial"/>
                <a:cs typeface="Arial"/>
                <a:sym typeface="Helvetica"/>
              </a:rPr>
              <a:t> </a:t>
            </a:r>
            <a:r>
              <a:rPr lang="fi-FI" sz="2200" kern="0" err="1">
                <a:latin typeface="Arial"/>
                <a:cs typeface="Arial"/>
                <a:sym typeface="Helvetica"/>
              </a:rPr>
              <a:t>community</a:t>
            </a:r>
            <a:r>
              <a:rPr lang="fi-FI" sz="2200" kern="0">
                <a:latin typeface="Arial"/>
                <a:cs typeface="Arial"/>
                <a:sym typeface="Helvetica"/>
              </a:rPr>
              <a:t> &amp; </a:t>
            </a:r>
            <a:r>
              <a:rPr lang="fi-FI" sz="2200" kern="0" err="1">
                <a:latin typeface="Arial"/>
                <a:cs typeface="Arial"/>
                <a:sym typeface="Helvetica"/>
              </a:rPr>
              <a:t>people</a:t>
            </a:r>
            <a:r>
              <a:rPr lang="fi-FI" sz="2200" kern="0">
                <a:latin typeface="Arial"/>
                <a:cs typeface="Arial"/>
                <a:sym typeface="Helvetica"/>
              </a:rPr>
              <a:t>, </a:t>
            </a:r>
            <a:br>
              <a:rPr lang="fi-FI" sz="2200" kern="0">
                <a:latin typeface="Arial"/>
                <a:cs typeface="Arial"/>
                <a:sym typeface="Helvetica"/>
              </a:rPr>
            </a:br>
            <a:r>
              <a:rPr lang="fi-FI" sz="2200" kern="0" err="1">
                <a:latin typeface="Arial"/>
                <a:cs typeface="Arial"/>
                <a:sym typeface="Helvetica"/>
              </a:rPr>
              <a:t>infrastructures</a:t>
            </a:r>
            <a:r>
              <a:rPr lang="fi-FI" sz="2200" kern="0">
                <a:latin typeface="Arial"/>
                <a:cs typeface="Arial"/>
                <a:sym typeface="Helvetica"/>
              </a:rPr>
              <a:t> &amp; campus, and </a:t>
            </a:r>
            <a:r>
              <a:rPr lang="fi-FI" sz="2200" kern="0" err="1">
                <a:latin typeface="Arial"/>
                <a:cs typeface="Arial"/>
                <a:sym typeface="Helvetica"/>
              </a:rPr>
              <a:t>services</a:t>
            </a:r>
            <a:r>
              <a:rPr lang="fi-FI" sz="2200" kern="0">
                <a:latin typeface="Arial"/>
                <a:cs typeface="Arial"/>
                <a:sym typeface="Helvetica"/>
              </a:rPr>
              <a:t>.  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381CDF1-0D5C-B341-BE9D-36A0F25B1B3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01997" y="2271661"/>
            <a:ext cx="2520694" cy="161883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819B11A8-2D03-7348-BE84-9BFE1F132C2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770" y="2280318"/>
            <a:ext cx="2414499" cy="1610179"/>
          </a:xfrm>
          <a:prstGeom prst="rect">
            <a:avLst/>
          </a:prstGeom>
        </p:spPr>
      </p:pic>
      <p:pic>
        <p:nvPicPr>
          <p:cNvPr id="8" name="Picture 7" descr="A person using a computer&#10;&#10;Description automatically generated">
            <a:extLst>
              <a:ext uri="{FF2B5EF4-FFF2-40B4-BE49-F238E27FC236}">
                <a16:creationId xmlns:a16="http://schemas.microsoft.com/office/drawing/2014/main" id="{DAF67A42-4B87-4748-BBD2-292D1BE30E7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6418" y="2271662"/>
            <a:ext cx="2874352" cy="1618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5358764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71E14AD-D3BE-9049-B8C5-42D2BDE5B5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2219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494569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" name="Image" descr="Imag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888741"/>
            <a:ext cx="2309114" cy="969259"/>
          </a:xfrm>
          <a:prstGeom prst="rect">
            <a:avLst/>
          </a:prstGeom>
          <a:ln w="12700">
            <a:miter lim="400000"/>
          </a:ln>
        </p:spPr>
      </p:pic>
      <p:sp>
        <p:nvSpPr>
          <p:cNvPr id="114" name="Aalto University is the most creative and inspiring community for new thinking"/>
          <p:cNvSpPr txBox="1"/>
          <p:nvPr/>
        </p:nvSpPr>
        <p:spPr>
          <a:xfrm>
            <a:off x="423787" y="1208702"/>
            <a:ext cx="5374557" cy="462947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marL="228600" indent="-228600" defTabSz="228600" hangingPunct="0">
              <a:buSzPct val="100000"/>
              <a:buFont typeface="Arial" panose="020B0604020202020204" pitchFamily="34" charset="0"/>
              <a:buChar char="•"/>
              <a:defRPr sz="5500" b="1">
                <a:latin typeface="Arial"/>
                <a:ea typeface="Arial"/>
                <a:cs typeface="Arial"/>
                <a:sym typeface="Arial"/>
              </a:defRPr>
            </a:pPr>
            <a:r>
              <a:rPr lang="fi-FI" sz="175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A </a:t>
            </a:r>
            <a:r>
              <a:rPr lang="fi-FI" sz="1750" b="1" kern="0" err="1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comprehensive</a:t>
            </a:r>
            <a:r>
              <a:rPr lang="fi-FI" sz="175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, </a:t>
            </a:r>
            <a:r>
              <a:rPr lang="fi-FI" sz="1750" b="1" kern="0" err="1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international</a:t>
            </a:r>
            <a:r>
              <a:rPr lang="fi-FI" sz="175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 </a:t>
            </a:r>
            <a:r>
              <a:rPr lang="fi-FI" sz="175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  <a:hlinkClick r:id="rId4"/>
              </a:rPr>
              <a:t>peer evaluation</a:t>
            </a:r>
            <a:r>
              <a:rPr lang="fi-FI" sz="175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 of Aalto </a:t>
            </a:r>
            <a:r>
              <a:rPr lang="fi-FI" sz="1750" b="1" kern="0" err="1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University’s</a:t>
            </a:r>
            <a:r>
              <a:rPr lang="fi-FI" sz="175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 </a:t>
            </a:r>
            <a:r>
              <a:rPr lang="fi-FI" sz="1750" b="1" kern="0" err="1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research</a:t>
            </a:r>
            <a:r>
              <a:rPr lang="fi-FI" sz="175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 </a:t>
            </a:r>
            <a:r>
              <a:rPr lang="fi-FI" sz="1750" b="1" kern="0" err="1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quality</a:t>
            </a:r>
            <a:r>
              <a:rPr lang="fi-FI" sz="175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 (RAI 2018)</a:t>
            </a:r>
          </a:p>
          <a:p>
            <a:pPr marL="228600" indent="-228600" defTabSz="228600" hangingPunct="0">
              <a:buSzPct val="100000"/>
              <a:buFont typeface="Arial" panose="020B0604020202020204" pitchFamily="34" charset="0"/>
              <a:buChar char="•"/>
              <a:defRPr sz="5500" b="1">
                <a:latin typeface="Arial"/>
                <a:ea typeface="Arial"/>
                <a:cs typeface="Arial"/>
                <a:sym typeface="Arial"/>
              </a:defRPr>
            </a:pPr>
            <a:r>
              <a:rPr lang="fi-FI" sz="1750" b="1" kern="0">
                <a:solidFill>
                  <a:srgbClr val="000000"/>
                </a:solidFill>
                <a:latin typeface="Arial"/>
                <a:ea typeface="+mn-lt"/>
                <a:cs typeface="Arial"/>
                <a:sym typeface="Arial"/>
              </a:rPr>
              <a:t>Aalto </a:t>
            </a:r>
            <a:r>
              <a:rPr lang="fi-FI" sz="1750" b="1" kern="0" err="1">
                <a:solidFill>
                  <a:srgbClr val="000000"/>
                </a:solidFill>
                <a:latin typeface="Arial"/>
                <a:ea typeface="+mn-lt"/>
                <a:cs typeface="Arial"/>
                <a:sym typeface="Arial"/>
              </a:rPr>
              <a:t>University</a:t>
            </a:r>
            <a:r>
              <a:rPr lang="fi-FI" sz="1750" b="1" kern="0">
                <a:solidFill>
                  <a:srgbClr val="000000"/>
                </a:solidFill>
                <a:latin typeface="Arial"/>
                <a:ea typeface="+mn-lt"/>
                <a:cs typeface="Arial"/>
                <a:sym typeface="Arial"/>
              </a:rPr>
              <a:t> is </a:t>
            </a:r>
            <a:r>
              <a:rPr lang="fi-FI" sz="1750" b="1" kern="0" err="1">
                <a:solidFill>
                  <a:srgbClr val="000000"/>
                </a:solidFill>
                <a:latin typeface="Arial"/>
                <a:ea typeface="+mn-lt"/>
                <a:cs typeface="Arial"/>
                <a:sym typeface="Arial"/>
              </a:rPr>
              <a:t>recognised</a:t>
            </a:r>
            <a:r>
              <a:rPr lang="fi-FI" sz="1750" b="1" kern="0">
                <a:solidFill>
                  <a:srgbClr val="000000"/>
                </a:solidFill>
                <a:latin typeface="Arial"/>
                <a:ea typeface="+mn-lt"/>
                <a:cs typeface="Arial"/>
                <a:sym typeface="Arial"/>
              </a:rPr>
              <a:t> as a </a:t>
            </a:r>
            <a:r>
              <a:rPr lang="fi-FI" sz="1750" b="1" kern="0">
                <a:solidFill>
                  <a:srgbClr val="000000"/>
                </a:solidFill>
                <a:latin typeface="Arial"/>
                <a:ea typeface="+mn-lt"/>
                <a:cs typeface="Arial"/>
                <a:sym typeface="Arial"/>
                <a:hlinkClick r:id="rId5"/>
              </a:rPr>
              <a:t>globally leading young university</a:t>
            </a:r>
            <a:r>
              <a:rPr lang="fi-FI" sz="1750" b="1" kern="0">
                <a:solidFill>
                  <a:srgbClr val="000000"/>
                </a:solidFill>
                <a:latin typeface="Arial"/>
                <a:ea typeface="+mn-lt"/>
                <a:cs typeface="Arial"/>
                <a:sym typeface="Arial"/>
              </a:rPr>
              <a:t> (QS top 50 </a:t>
            </a:r>
            <a:r>
              <a:rPr lang="fi-FI" sz="1750" b="1" kern="0" err="1">
                <a:solidFill>
                  <a:srgbClr val="000000"/>
                </a:solidFill>
                <a:latin typeface="Arial"/>
                <a:ea typeface="+mn-lt"/>
                <a:cs typeface="Arial"/>
                <a:sym typeface="Arial"/>
              </a:rPr>
              <a:t>under</a:t>
            </a:r>
            <a:r>
              <a:rPr lang="fi-FI" sz="1750" b="1" kern="0">
                <a:solidFill>
                  <a:srgbClr val="000000"/>
                </a:solidFill>
                <a:latin typeface="Arial"/>
                <a:ea typeface="+mn-lt"/>
                <a:cs typeface="Arial"/>
                <a:sym typeface="Arial"/>
              </a:rPr>
              <a:t> 50, 2020)</a:t>
            </a:r>
          </a:p>
          <a:p>
            <a:pPr marL="228600" indent="-228600" defTabSz="228600" hangingPunct="0">
              <a:buSzPct val="100000"/>
              <a:buFont typeface="Arial" panose="020B0604020202020204" pitchFamily="34" charset="0"/>
              <a:buChar char="•"/>
              <a:defRPr sz="5500" b="1">
                <a:latin typeface="Arial"/>
                <a:ea typeface="Arial"/>
                <a:cs typeface="Arial"/>
                <a:sym typeface="Arial"/>
              </a:defRPr>
            </a:pPr>
            <a:r>
              <a:rPr lang="en-US" sz="175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  <a:hlinkClick r:id="rId6"/>
              </a:rPr>
              <a:t>MIT</a:t>
            </a:r>
            <a:r>
              <a:rPr lang="en-US" sz="175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, </a:t>
            </a:r>
            <a:r>
              <a:rPr lang="en-US" sz="175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  <a:hlinkClick r:id="rId7"/>
              </a:rPr>
              <a:t>JRC</a:t>
            </a:r>
            <a:r>
              <a:rPr lang="en-US" sz="175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 and </a:t>
            </a:r>
            <a:r>
              <a:rPr lang="en-US" sz="175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  <a:hlinkClick r:id="rId8"/>
              </a:rPr>
              <a:t>EUA</a:t>
            </a:r>
            <a:r>
              <a:rPr lang="en-US" sz="175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 have recently portrayed the entrepreneurial and innovation ecosystem evolving around the university as an international role model </a:t>
            </a:r>
          </a:p>
          <a:p>
            <a:pPr marL="228600" indent="-228600" defTabSz="228600" hangingPunct="0">
              <a:buSzPct val="100000"/>
              <a:buFont typeface="Arial" panose="020B0604020202020204" pitchFamily="34" charset="0"/>
              <a:buChar char="•"/>
              <a:defRPr sz="5500" b="1">
                <a:latin typeface="Arial"/>
                <a:ea typeface="Arial"/>
                <a:cs typeface="Arial"/>
                <a:sym typeface="Arial"/>
              </a:defRPr>
            </a:pPr>
            <a:r>
              <a:rPr lang="en-US" sz="1750" b="1" kern="0">
                <a:solidFill>
                  <a:srgbClr val="000000"/>
                </a:solidFill>
                <a:latin typeface="Arial"/>
                <a:cs typeface="Helvetica"/>
                <a:sym typeface="Arial"/>
              </a:rPr>
              <a:t>Aalto University is </a:t>
            </a:r>
            <a:r>
              <a:rPr lang="en-US" sz="1750" b="1" kern="0" err="1">
                <a:solidFill>
                  <a:srgbClr val="000000"/>
                </a:solidFill>
                <a:latin typeface="Arial"/>
                <a:cs typeface="Helvetica"/>
                <a:sym typeface="Arial"/>
              </a:rPr>
              <a:t>recognised</a:t>
            </a:r>
            <a:r>
              <a:rPr lang="en-US" sz="1750" b="1" kern="0">
                <a:solidFill>
                  <a:srgbClr val="000000"/>
                </a:solidFill>
                <a:latin typeface="Arial"/>
                <a:cs typeface="Helvetica"/>
                <a:sym typeface="Arial"/>
              </a:rPr>
              <a:t> as </a:t>
            </a:r>
            <a:r>
              <a:rPr lang="en-US" sz="1750" b="1" kern="0">
                <a:solidFill>
                  <a:srgbClr val="000000"/>
                </a:solidFill>
                <a:latin typeface="Arial"/>
                <a:cs typeface="Helvetica"/>
                <a:sym typeface="Arial"/>
                <a:hlinkClick r:id="rId9"/>
              </a:rPr>
              <a:t>one of Europe's most international</a:t>
            </a:r>
            <a:r>
              <a:rPr lang="en-US" sz="1750" b="1" kern="0">
                <a:solidFill>
                  <a:srgbClr val="000000"/>
                </a:solidFill>
                <a:latin typeface="Arial"/>
                <a:cs typeface="Helvetica"/>
                <a:sym typeface="Arial"/>
              </a:rPr>
              <a:t> universities (THE 2019)</a:t>
            </a:r>
          </a:p>
          <a:p>
            <a:pPr marL="228600" indent="-228600" defTabSz="228600" hangingPunct="0">
              <a:buSzPct val="100000"/>
              <a:buFont typeface="Arial" panose="020B0604020202020204" pitchFamily="34" charset="0"/>
              <a:buChar char="•"/>
              <a:defRPr sz="5500" b="1">
                <a:latin typeface="Arial"/>
                <a:ea typeface="Arial"/>
                <a:cs typeface="Arial"/>
                <a:sym typeface="Arial"/>
              </a:defRPr>
            </a:pPr>
            <a:r>
              <a:rPr lang="fi-FI" sz="175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Examples</a:t>
            </a:r>
            <a:r>
              <a:rPr lang="fi-FI" sz="175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 of Aalto </a:t>
            </a:r>
            <a:r>
              <a:rPr lang="fi-FI" sz="175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University’s</a:t>
            </a:r>
            <a:r>
              <a:rPr lang="fi-FI" sz="175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 </a:t>
            </a:r>
            <a:r>
              <a:rPr lang="fi-FI" sz="175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distinctive</a:t>
            </a:r>
            <a:br>
              <a:rPr lang="fi-FI" sz="175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</a:br>
            <a:r>
              <a:rPr lang="fi-FI" sz="1750" b="1" kern="0">
                <a:solidFill>
                  <a:srgbClr val="000000"/>
                </a:solidFill>
                <a:latin typeface="Arial"/>
                <a:cs typeface="Arial"/>
                <a:sym typeface="Arial"/>
                <a:hlinkClick r:id="rId10"/>
              </a:rPr>
              <a:t>research excellence</a:t>
            </a:r>
            <a:endParaRPr lang="fi-FI" sz="1750" b="1" kern="0">
              <a:solidFill>
                <a:srgbClr val="000000"/>
              </a:solidFill>
              <a:latin typeface="Arial"/>
              <a:ea typeface="+mn-lt"/>
              <a:cs typeface="Helvetica"/>
              <a:sym typeface="Arial"/>
            </a:endParaRPr>
          </a:p>
          <a:p>
            <a:pPr marL="228600" indent="-228600" defTabSz="228600" hangingPunct="0">
              <a:buSzPct val="100000"/>
              <a:buFont typeface="Arial" panose="020B0604020202020204" pitchFamily="34" charset="0"/>
              <a:buChar char="•"/>
              <a:defRPr sz="5500" b="1">
                <a:latin typeface="Arial"/>
                <a:ea typeface="Arial"/>
                <a:cs typeface="Arial"/>
                <a:sym typeface="Arial"/>
              </a:defRPr>
            </a:pPr>
            <a:r>
              <a:rPr lang="fi-FI" sz="175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Key </a:t>
            </a:r>
            <a:r>
              <a:rPr lang="fi-FI" sz="175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figures</a:t>
            </a:r>
            <a:r>
              <a:rPr lang="fi-FI" sz="175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 and </a:t>
            </a:r>
            <a:r>
              <a:rPr lang="fi-FI" sz="175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reports</a:t>
            </a:r>
            <a:r>
              <a:rPr lang="fi-FI" sz="175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 </a:t>
            </a:r>
            <a:r>
              <a:rPr lang="fi-FI" sz="175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from</a:t>
            </a:r>
            <a:r>
              <a:rPr lang="fi-FI" sz="175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 </a:t>
            </a:r>
            <a:r>
              <a:rPr lang="fi-FI" sz="1750" b="1" kern="0">
                <a:solidFill>
                  <a:srgbClr val="000000"/>
                </a:solidFill>
                <a:latin typeface="Arial"/>
                <a:cs typeface="Arial"/>
                <a:sym typeface="Arial"/>
                <a:hlinkClick r:id="rId11"/>
              </a:rPr>
              <a:t>2018</a:t>
            </a:r>
            <a:r>
              <a:rPr lang="fi-FI" sz="175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 </a:t>
            </a:r>
            <a:endParaRPr lang="fi-FI" sz="1750" b="1" kern="0">
              <a:solidFill>
                <a:srgbClr val="000000"/>
              </a:solidFill>
              <a:latin typeface="Arial"/>
              <a:ea typeface="+mn-lt"/>
              <a:cs typeface="Helvetica"/>
              <a:sym typeface="Arial"/>
            </a:endParaRPr>
          </a:p>
          <a:p>
            <a:pPr marL="228600" indent="-228600" defTabSz="228600" hangingPunct="0">
              <a:buSzPct val="100000"/>
              <a:buFont typeface="Arial" panose="020B0604020202020204" pitchFamily="34" charset="0"/>
              <a:buChar char="•"/>
              <a:defRPr sz="5500" b="1">
                <a:latin typeface="Arial"/>
                <a:ea typeface="Arial"/>
                <a:cs typeface="Arial"/>
                <a:sym typeface="Arial"/>
              </a:defRPr>
            </a:pPr>
            <a:r>
              <a:rPr lang="fi-FI" sz="175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n </a:t>
            </a:r>
            <a:r>
              <a:rPr lang="fi-FI" sz="1750" b="1" kern="0">
                <a:solidFill>
                  <a:srgbClr val="000000"/>
                </a:solidFill>
                <a:latin typeface="Arial"/>
                <a:cs typeface="Arial"/>
                <a:sym typeface="Arial"/>
                <a:hlinkClick r:id="rId12"/>
              </a:rPr>
              <a:t>overview</a:t>
            </a:r>
            <a:r>
              <a:rPr lang="fi-FI" sz="175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 of Aalto </a:t>
            </a:r>
            <a:r>
              <a:rPr lang="fi-FI" sz="175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University’s</a:t>
            </a:r>
            <a:r>
              <a:rPr lang="fi-FI" sz="175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 position in </a:t>
            </a:r>
            <a:r>
              <a:rPr lang="fi-FI" sz="175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international</a:t>
            </a:r>
            <a:r>
              <a:rPr lang="fi-FI" sz="175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 </a:t>
            </a:r>
            <a:r>
              <a:rPr lang="fi-FI" sz="175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rankings</a:t>
            </a:r>
            <a:r>
              <a:rPr lang="fi-FI" sz="175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 </a:t>
            </a:r>
            <a:endParaRPr lang="en-US" sz="275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5" name="Key Strategic Choices"/>
          <p:cNvSpPr txBox="1"/>
          <p:nvPr/>
        </p:nvSpPr>
        <p:spPr>
          <a:xfrm rot="21597083">
            <a:off x="424160" y="177224"/>
            <a:ext cx="7548753" cy="8822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25400" tIns="25400" rIns="25400" bIns="25400" anchor="ctr">
            <a:spAutoFit/>
          </a:bodyPr>
          <a:lstStyle/>
          <a:p>
            <a:pPr defTabSz="412750" hangingPunct="0">
              <a:defRPr sz="10800" b="1">
                <a:latin typeface="Arial"/>
                <a:ea typeface="Arial"/>
                <a:cs typeface="Arial"/>
                <a:sym typeface="Arial"/>
              </a:defRPr>
            </a:pPr>
            <a:r>
              <a:rPr lang="en-US" sz="5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References 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26EA5AF-2B4A-3744-B1E1-98D23D0F28BF}"/>
              </a:ext>
            </a:extLst>
          </p:cNvPr>
          <p:cNvSpPr txBox="1">
            <a:spLocks/>
          </p:cNvSpPr>
          <p:nvPr/>
        </p:nvSpPr>
        <p:spPr>
          <a:xfrm>
            <a:off x="8063811" y="642208"/>
            <a:ext cx="3178564" cy="3274869"/>
          </a:xfrm>
          <a:prstGeom prst="rect">
            <a:avLst/>
          </a:prstGeom>
        </p:spPr>
        <p:txBody>
          <a:bodyPr tIns="108000" rIns="108000" bIns="108000"/>
          <a:lstStyle>
            <a:lvl1pPr marL="609608" indent="-609608" algn="l" defTabSz="81281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5689" kern="1200">
                <a:solidFill>
                  <a:schemeClr val="tx1"/>
                </a:solidFill>
                <a:latin typeface="+mn-lt"/>
                <a:ea typeface="ＭＳ Ｐゴシック" charset="0"/>
                <a:cs typeface="MS PGothic" pitchFamily="34" charset="-128"/>
              </a:defRPr>
            </a:lvl1pPr>
            <a:lvl2pPr marL="1320817" indent="-508006" algn="l" defTabSz="81281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4978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2032025" indent="-406405" algn="l" defTabSz="81281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4267" kern="1200">
                <a:solidFill>
                  <a:schemeClr val="tx1"/>
                </a:solidFill>
                <a:latin typeface="+mn-lt"/>
                <a:ea typeface="ヒラギノ角ゴ Pro W3" charset="-128"/>
                <a:cs typeface="ヒラギノ角ゴ Pro W3" charset="-128"/>
              </a:defRPr>
            </a:lvl3pPr>
            <a:lvl4pPr marL="2844836" indent="-406405" algn="l" defTabSz="81281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3556" kern="1200">
                <a:solidFill>
                  <a:schemeClr val="tx1"/>
                </a:solidFill>
                <a:latin typeface="+mn-lt"/>
                <a:ea typeface="ヒラギノ角ゴ Pro W3" charset="-128"/>
                <a:cs typeface="ヒラギノ角ゴ Pro W3" charset="0"/>
              </a:defRPr>
            </a:lvl4pPr>
            <a:lvl5pPr marL="3657646" indent="-406405" algn="l" defTabSz="81281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3556" kern="1200">
                <a:solidFill>
                  <a:schemeClr val="tx1"/>
                </a:solidFill>
                <a:latin typeface="+mn-lt"/>
                <a:ea typeface="ＭＳ Ｐゴシック" charset="0"/>
                <a:cs typeface="MS PGothic" pitchFamily="34" charset="-128"/>
              </a:defRPr>
            </a:lvl5pPr>
            <a:lvl6pPr marL="4470456" indent="-406405" algn="l" defTabSz="812810" rtl="0" eaLnBrk="1" latinLnBrk="0" hangingPunct="1">
              <a:spcBef>
                <a:spcPct val="20000"/>
              </a:spcBef>
              <a:buFont typeface="Arial"/>
              <a:buChar char="•"/>
              <a:defRPr sz="35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283266" indent="-406405" algn="l" defTabSz="812810" rtl="0" eaLnBrk="1" latinLnBrk="0" hangingPunct="1">
              <a:spcBef>
                <a:spcPct val="20000"/>
              </a:spcBef>
              <a:buFont typeface="Arial"/>
              <a:buChar char="•"/>
              <a:defRPr sz="35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096076" indent="-406405" algn="l" defTabSz="812810" rtl="0" eaLnBrk="1" latinLnBrk="0" hangingPunct="1">
              <a:spcBef>
                <a:spcPct val="20000"/>
              </a:spcBef>
              <a:buFont typeface="Arial"/>
              <a:buChar char="•"/>
              <a:defRPr sz="35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908886" indent="-406405" algn="l" defTabSz="812810" rtl="0" eaLnBrk="1" latinLnBrk="0" hangingPunct="1">
              <a:spcBef>
                <a:spcPct val="20000"/>
              </a:spcBef>
              <a:buFont typeface="Arial"/>
              <a:buChar char="•"/>
              <a:defRPr sz="35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93831">
              <a:spcBef>
                <a:spcPts val="0"/>
              </a:spcBef>
              <a:buNone/>
              <a:defRPr/>
            </a:pPr>
            <a:endParaRPr lang="en-GB" sz="1320">
              <a:solidFill>
                <a:prstClr val="white"/>
              </a:solidFill>
              <a:latin typeface="Arial Black" panose="020B0A04020102020204" pitchFamily="34" charset="0"/>
              <a:ea typeface="Georgia" charset="0"/>
              <a:cs typeface="Georgia" charset="0"/>
              <a:sym typeface="Helvetica"/>
            </a:endParaRP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7D8EE7DC-468F-B34E-B4F0-105BF33BEBE4}"/>
              </a:ext>
            </a:extLst>
          </p:cNvPr>
          <p:cNvSpPr txBox="1">
            <a:spLocks/>
          </p:cNvSpPr>
          <p:nvPr/>
        </p:nvSpPr>
        <p:spPr>
          <a:xfrm>
            <a:off x="7873220" y="630289"/>
            <a:ext cx="3178564" cy="3274869"/>
          </a:xfrm>
          <a:prstGeom prst="rect">
            <a:avLst/>
          </a:prstGeom>
        </p:spPr>
        <p:txBody>
          <a:bodyPr tIns="108000" rIns="108000" bIns="108000"/>
          <a:lstStyle>
            <a:lvl1pPr marL="609608" indent="-609608" algn="l" defTabSz="81281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5689" kern="1200">
                <a:solidFill>
                  <a:schemeClr val="tx1"/>
                </a:solidFill>
                <a:latin typeface="+mn-lt"/>
                <a:ea typeface="ＭＳ Ｐゴシック" charset="0"/>
                <a:cs typeface="MS PGothic" pitchFamily="34" charset="-128"/>
              </a:defRPr>
            </a:lvl1pPr>
            <a:lvl2pPr marL="1320817" indent="-508006" algn="l" defTabSz="81281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4978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2032025" indent="-406405" algn="l" defTabSz="81281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4267" kern="1200">
                <a:solidFill>
                  <a:schemeClr val="tx1"/>
                </a:solidFill>
                <a:latin typeface="+mn-lt"/>
                <a:ea typeface="ヒラギノ角ゴ Pro W3" charset="-128"/>
                <a:cs typeface="ヒラギノ角ゴ Pro W3" charset="-128"/>
              </a:defRPr>
            </a:lvl3pPr>
            <a:lvl4pPr marL="2844836" indent="-406405" algn="l" defTabSz="81281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3556" kern="1200">
                <a:solidFill>
                  <a:schemeClr val="tx1"/>
                </a:solidFill>
                <a:latin typeface="+mn-lt"/>
                <a:ea typeface="ヒラギノ角ゴ Pro W3" charset="-128"/>
                <a:cs typeface="ヒラギノ角ゴ Pro W3" charset="0"/>
              </a:defRPr>
            </a:lvl4pPr>
            <a:lvl5pPr marL="3657646" indent="-406405" algn="l" defTabSz="81281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3556" kern="1200">
                <a:solidFill>
                  <a:schemeClr val="tx1"/>
                </a:solidFill>
                <a:latin typeface="+mn-lt"/>
                <a:ea typeface="ＭＳ Ｐゴシック" charset="0"/>
                <a:cs typeface="MS PGothic" pitchFamily="34" charset="-128"/>
              </a:defRPr>
            </a:lvl5pPr>
            <a:lvl6pPr marL="4470456" indent="-406405" algn="l" defTabSz="812810" rtl="0" eaLnBrk="1" latinLnBrk="0" hangingPunct="1">
              <a:spcBef>
                <a:spcPct val="20000"/>
              </a:spcBef>
              <a:buFont typeface="Arial"/>
              <a:buChar char="•"/>
              <a:defRPr sz="35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283266" indent="-406405" algn="l" defTabSz="812810" rtl="0" eaLnBrk="1" latinLnBrk="0" hangingPunct="1">
              <a:spcBef>
                <a:spcPct val="20000"/>
              </a:spcBef>
              <a:buFont typeface="Arial"/>
              <a:buChar char="•"/>
              <a:defRPr sz="35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096076" indent="-406405" algn="l" defTabSz="812810" rtl="0" eaLnBrk="1" latinLnBrk="0" hangingPunct="1">
              <a:spcBef>
                <a:spcPct val="20000"/>
              </a:spcBef>
              <a:buFont typeface="Arial"/>
              <a:buChar char="•"/>
              <a:defRPr sz="35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908886" indent="-406405" algn="l" defTabSz="812810" rtl="0" eaLnBrk="1" latinLnBrk="0" hangingPunct="1">
              <a:spcBef>
                <a:spcPct val="20000"/>
              </a:spcBef>
              <a:buFont typeface="Arial"/>
              <a:buChar char="•"/>
              <a:defRPr sz="35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93831">
              <a:spcBef>
                <a:spcPts val="0"/>
              </a:spcBef>
              <a:buNone/>
              <a:defRPr/>
            </a:pPr>
            <a:endParaRPr lang="en-GB" sz="8640" b="1" baseline="30000">
              <a:solidFill>
                <a:prstClr val="white"/>
              </a:solidFill>
              <a:latin typeface="Arial" panose="020B0604020202020204"/>
              <a:ea typeface="Georgia" charset="0"/>
              <a:cs typeface="Georgia" charset="0"/>
              <a:sym typeface="Helvetica"/>
            </a:endParaRPr>
          </a:p>
          <a:p>
            <a:pPr marL="0" indent="0" defTabSz="493831">
              <a:spcBef>
                <a:spcPts val="0"/>
              </a:spcBef>
              <a:buNone/>
              <a:defRPr/>
            </a:pPr>
            <a:endParaRPr lang="en-GB" sz="1320">
              <a:solidFill>
                <a:prstClr val="white"/>
              </a:solidFill>
              <a:latin typeface="Arial Black" panose="020B0A04020102020204" pitchFamily="34" charset="0"/>
              <a:ea typeface="Georgia" charset="0"/>
              <a:cs typeface="Georgia" charset="0"/>
              <a:sym typeface="Helvetica"/>
            </a:endParaRPr>
          </a:p>
          <a:p>
            <a:pPr marL="0" indent="0" defTabSz="493831">
              <a:spcBef>
                <a:spcPts val="0"/>
              </a:spcBef>
              <a:buNone/>
              <a:defRPr/>
            </a:pPr>
            <a:r>
              <a:rPr lang="en-GB" sz="1320">
                <a:solidFill>
                  <a:prstClr val="white"/>
                </a:solidFill>
                <a:latin typeface="Arial Black" panose="020B0A04020102020204" pitchFamily="34" charset="0"/>
                <a:ea typeface="Georgia" charset="0"/>
                <a:cs typeface="Georgia" charset="0"/>
                <a:sym typeface="Helvetica"/>
              </a:rPr>
              <a:t> </a:t>
            </a:r>
          </a:p>
        </p:txBody>
      </p:sp>
      <p:pic>
        <p:nvPicPr>
          <p:cNvPr id="8" name="Unto_Rautio_Aalto_0333.jpg" descr="Unto_Rautio_Aalto_0333.jpg">
            <a:extLst>
              <a:ext uri="{FF2B5EF4-FFF2-40B4-BE49-F238E27FC236}">
                <a16:creationId xmlns:a16="http://schemas.microsoft.com/office/drawing/2014/main" id="{AE5D7A22-7DC1-EC4B-B5BB-58CA78CAAE49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137"/>
          <a:stretch/>
        </p:blipFill>
        <p:spPr>
          <a:xfrm rot="21551418">
            <a:off x="6469881" y="-433687"/>
            <a:ext cx="6366423" cy="734592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2" y="0"/>
                </a:moveTo>
                <a:lnTo>
                  <a:pt x="0" y="21560"/>
                </a:lnTo>
                <a:lnTo>
                  <a:pt x="3598" y="21600"/>
                </a:lnTo>
                <a:lnTo>
                  <a:pt x="21251" y="21600"/>
                </a:lnTo>
                <a:lnTo>
                  <a:pt x="21600" y="238"/>
                </a:lnTo>
                <a:lnTo>
                  <a:pt x="352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60164292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" name="Image" descr="Imag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888741"/>
            <a:ext cx="2309114" cy="969259"/>
          </a:xfrm>
          <a:prstGeom prst="rect">
            <a:avLst/>
          </a:prstGeom>
          <a:ln w="12700">
            <a:miter lim="400000"/>
          </a:ln>
        </p:spPr>
      </p:pic>
      <p:sp>
        <p:nvSpPr>
          <p:cNvPr id="114" name="Aalto University is the most creative and inspiring community for new thinking"/>
          <p:cNvSpPr txBox="1"/>
          <p:nvPr/>
        </p:nvSpPr>
        <p:spPr>
          <a:xfrm>
            <a:off x="214615" y="2062845"/>
            <a:ext cx="5876648" cy="41139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marL="342900" indent="-342900" defTabSz="228600" hangingPunct="0">
              <a:buSzPct val="100000"/>
              <a:buFont typeface="Arial" panose="020B0604020202020204" pitchFamily="34" charset="0"/>
              <a:buChar char="•"/>
              <a:defRPr sz="5500" b="1">
                <a:latin typeface="Arial"/>
                <a:ea typeface="Arial"/>
                <a:cs typeface="Arial"/>
                <a:sym typeface="Arial"/>
              </a:defRPr>
            </a:pP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By 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merging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 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three</a:t>
            </a:r>
            <a:r>
              <a:rPr lang="fi-FI" sz="240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 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leading</a:t>
            </a:r>
            <a:r>
              <a:rPr lang="fi-FI" sz="240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 </a:t>
            </a:r>
            <a:br>
              <a:rPr lang="fi-FI" sz="240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</a:br>
            <a:r>
              <a:rPr lang="fi-FI" sz="2400" b="1" kern="0" err="1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universities</a:t>
            </a:r>
            <a:r>
              <a:rPr lang="fi-FI" sz="240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 in 2010, Aalto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was</a:t>
            </a:r>
            <a:r>
              <a:rPr lang="fi-FI" sz="240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founded</a:t>
            </a:r>
            <a:r>
              <a:rPr lang="fi-FI" sz="240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 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o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work</a:t>
            </a:r>
            <a:r>
              <a:rPr lang="fi-FI" sz="240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 as a 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societally</a:t>
            </a:r>
            <a:r>
              <a:rPr lang="fi-FI" sz="240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embedded</a:t>
            </a:r>
            <a:r>
              <a:rPr lang="fi-FI" sz="240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, and 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innovative</a:t>
            </a:r>
            <a:br>
              <a:rPr lang="fi-FI" sz="240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</a:br>
            <a:r>
              <a:rPr lang="fi-FI" sz="2400" b="1" kern="0" err="1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research</a:t>
            </a:r>
            <a:r>
              <a:rPr lang="fi-FI" sz="240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 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university</a:t>
            </a:r>
            <a:r>
              <a:rPr lang="fi-FI" sz="240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 for a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better</a:t>
            </a:r>
            <a:r>
              <a:rPr lang="fi-FI" sz="2400" b="1" kern="0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ea typeface="+mn-lt"/>
                <a:cs typeface="Helvetica"/>
                <a:sym typeface="Arial"/>
              </a:rPr>
              <a:t>world</a:t>
            </a:r>
            <a:endParaRPr lang="fi-FI" sz="2400" b="1" kern="0">
              <a:solidFill>
                <a:srgbClr val="000000"/>
              </a:solidFill>
              <a:latin typeface="Arial"/>
              <a:cs typeface="Helvetica"/>
            </a:endParaRPr>
          </a:p>
          <a:p>
            <a:pPr marL="305435" indent="-305435" defTabSz="228600" hangingPunct="0">
              <a:buSzPct val="100000"/>
              <a:buFont typeface="Arial"/>
              <a:buChar char="•"/>
              <a:defRPr sz="5500" b="1">
                <a:latin typeface="Arial"/>
                <a:ea typeface="Arial"/>
                <a:cs typeface="Arial"/>
                <a:sym typeface="Arial"/>
              </a:defRPr>
            </a:pP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alto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has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a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national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mission to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strengthen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Finland’s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innovative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capacity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through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first-class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research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and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education</a:t>
            </a:r>
            <a:endParaRPr lang="fi-FI" sz="2400" b="1" kern="0">
              <a:solidFill>
                <a:srgbClr val="000000"/>
              </a:solidFill>
              <a:latin typeface="Arial"/>
              <a:cs typeface="Arial"/>
            </a:endParaRPr>
          </a:p>
          <a:p>
            <a:pPr marL="305435" indent="-305435" defTabSz="228600" hangingPunct="0">
              <a:buSzPct val="100000"/>
              <a:buFont typeface="Arial"/>
              <a:buChar char="•"/>
              <a:defRPr sz="5500" b="1">
                <a:latin typeface="Arial"/>
                <a:ea typeface="Arial"/>
                <a:cs typeface="Arial"/>
                <a:sym typeface="Arial"/>
              </a:defRPr>
            </a:pPr>
            <a:endParaRPr lang="fi-FI" sz="2400" b="1" kern="0">
              <a:solidFill>
                <a:srgbClr val="000000"/>
              </a:solidFill>
              <a:latin typeface="Arial"/>
              <a:cs typeface="Arial"/>
            </a:endParaRPr>
          </a:p>
          <a:p>
            <a:pPr marL="305435" indent="-305435" defTabSz="228600" hangingPunct="0">
              <a:buSzPct val="100000"/>
              <a:buFont typeface="Arial"/>
              <a:buChar char="•"/>
              <a:defRPr sz="5500" b="1">
                <a:latin typeface="Arial"/>
                <a:ea typeface="Arial"/>
                <a:cs typeface="Arial"/>
                <a:sym typeface="Arial"/>
              </a:defRPr>
            </a:pPr>
            <a:endParaRPr lang="en-US" sz="2400" b="1" ker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15" name="Key Strategic Choices"/>
          <p:cNvSpPr txBox="1"/>
          <p:nvPr/>
        </p:nvSpPr>
        <p:spPr>
          <a:xfrm rot="21597083">
            <a:off x="388316" y="194880"/>
            <a:ext cx="7548753" cy="17132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5400" tIns="25400" rIns="25400" bIns="25400" anchor="ctr">
            <a:spAutoFit/>
          </a:bodyPr>
          <a:lstStyle/>
          <a:p>
            <a:pPr defTabSz="412750" hangingPunct="0">
              <a:defRPr sz="10800" b="1">
                <a:latin typeface="Arial"/>
                <a:ea typeface="Arial"/>
                <a:cs typeface="Arial"/>
                <a:sym typeface="Arial"/>
              </a:defRPr>
            </a:pPr>
            <a:r>
              <a:rPr lang="fi-FI" sz="5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We</a:t>
            </a:r>
            <a:r>
              <a:rPr lang="fi-FI" sz="5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fi-FI" sz="5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embarked</a:t>
            </a:r>
            <a:r>
              <a:rPr lang="fi-FI" sz="5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</a:p>
          <a:p>
            <a:pPr defTabSz="412750" hangingPunct="0">
              <a:defRPr sz="10800" b="1">
                <a:latin typeface="Arial"/>
                <a:ea typeface="Arial"/>
                <a:cs typeface="Arial"/>
                <a:sym typeface="Arial"/>
              </a:defRPr>
            </a:pPr>
            <a:r>
              <a:rPr lang="fi-FI" sz="5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n a mission</a:t>
            </a:r>
            <a:endParaRPr sz="5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" name="Rectangle 26">
            <a:extLst>
              <a:ext uri="{FF2B5EF4-FFF2-40B4-BE49-F238E27FC236}">
                <a16:creationId xmlns:a16="http://schemas.microsoft.com/office/drawing/2014/main" id="{331FE3C8-7F0C-054F-8013-CA9C62884FA3}"/>
              </a:ext>
            </a:extLst>
          </p:cNvPr>
          <p:cNvSpPr/>
          <p:nvPr/>
        </p:nvSpPr>
        <p:spPr>
          <a:xfrm>
            <a:off x="6445448" y="0"/>
            <a:ext cx="6095999" cy="6858000"/>
          </a:xfrm>
          <a:prstGeom prst="rect">
            <a:avLst/>
          </a:prstGeom>
          <a:solidFill>
            <a:srgbClr val="FFD733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12750" hangingPunct="0"/>
            <a:endParaRPr lang="en-FI" sz="3600" kern="0">
              <a:solidFill>
                <a:srgbClr val="FFFFFF"/>
              </a:solidFill>
              <a:latin typeface="Helvetica"/>
              <a:cs typeface="Helvetica"/>
              <a:sym typeface="Helvetica"/>
            </a:endParaRPr>
          </a:p>
        </p:txBody>
      </p:sp>
      <p:pic>
        <p:nvPicPr>
          <p:cNvPr id="12" name="Graphic 35">
            <a:extLst>
              <a:ext uri="{FF2B5EF4-FFF2-40B4-BE49-F238E27FC236}">
                <a16:creationId xmlns:a16="http://schemas.microsoft.com/office/drawing/2014/main" id="{6361F916-8E0D-7C40-BAD3-B9186DD580C1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962775" y="1322480"/>
            <a:ext cx="5061346" cy="4213043"/>
          </a:xfrm>
          <a:prstGeom prst="rect">
            <a:avLst/>
          </a:prstGeom>
        </p:spPr>
      </p:pic>
      <p:sp>
        <p:nvSpPr>
          <p:cNvPr id="20" name="TextBox 30">
            <a:extLst>
              <a:ext uri="{FF2B5EF4-FFF2-40B4-BE49-F238E27FC236}">
                <a16:creationId xmlns:a16="http://schemas.microsoft.com/office/drawing/2014/main" id="{9DD0B466-165E-8744-B8F7-CB3AFFFA1FAC}"/>
              </a:ext>
            </a:extLst>
          </p:cNvPr>
          <p:cNvSpPr txBox="1"/>
          <p:nvPr/>
        </p:nvSpPr>
        <p:spPr>
          <a:xfrm>
            <a:off x="8635723" y="1747374"/>
            <a:ext cx="1700748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12750" hangingPunct="0">
              <a:lnSpc>
                <a:spcPts val="2064"/>
              </a:lnSpc>
            </a:pPr>
            <a:r>
              <a:rPr lang="en-US" b="1" kern="0" spc="-24">
                <a:latin typeface="Helvetica"/>
                <a:cs typeface="Helvetica"/>
                <a:sym typeface="Helvetica"/>
              </a:rPr>
              <a:t>Business &amp; </a:t>
            </a:r>
          </a:p>
          <a:p>
            <a:pPr algn="ctr" defTabSz="412750" hangingPunct="0">
              <a:lnSpc>
                <a:spcPts val="2064"/>
              </a:lnSpc>
            </a:pPr>
            <a:r>
              <a:rPr lang="en-US" b="1" kern="0" spc="-24">
                <a:latin typeface="Helvetica"/>
                <a:cs typeface="Helvetica"/>
                <a:sym typeface="Helvetica"/>
              </a:rPr>
              <a:t>Economics</a:t>
            </a:r>
          </a:p>
        </p:txBody>
      </p:sp>
      <p:sp>
        <p:nvSpPr>
          <p:cNvPr id="21" name="TextBox 31">
            <a:extLst>
              <a:ext uri="{FF2B5EF4-FFF2-40B4-BE49-F238E27FC236}">
                <a16:creationId xmlns:a16="http://schemas.microsoft.com/office/drawing/2014/main" id="{F0C78349-34FA-3A4E-B89C-EF7729DE71EB}"/>
              </a:ext>
            </a:extLst>
          </p:cNvPr>
          <p:cNvSpPr txBox="1"/>
          <p:nvPr/>
        </p:nvSpPr>
        <p:spPr>
          <a:xfrm rot="19786258">
            <a:off x="7269297" y="4205882"/>
            <a:ext cx="1613434" cy="361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12750" hangingPunct="0">
              <a:lnSpc>
                <a:spcPts val="2064"/>
              </a:lnSpc>
            </a:pPr>
            <a:r>
              <a:rPr lang="en-FI" b="1" kern="0" spc="-24">
                <a:latin typeface="Helvetica"/>
                <a:cs typeface="Helvetica"/>
                <a:sym typeface="Helvetica"/>
              </a:rPr>
              <a:t>A</a:t>
            </a:r>
            <a:r>
              <a:rPr lang="en-GB" b="1" kern="0" spc="-24">
                <a:latin typeface="Helvetica"/>
                <a:cs typeface="Helvetica"/>
                <a:sym typeface="Helvetica"/>
              </a:rPr>
              <a:t>r</a:t>
            </a:r>
            <a:r>
              <a:rPr lang="en-FI" b="1" kern="0" spc="-24">
                <a:latin typeface="Helvetica"/>
                <a:cs typeface="Helvetica"/>
                <a:sym typeface="Helvetica"/>
              </a:rPr>
              <a:t>t &amp; </a:t>
            </a:r>
            <a:r>
              <a:rPr lang="en-GB" b="1" kern="0" spc="-24">
                <a:latin typeface="Helvetica"/>
                <a:cs typeface="Helvetica"/>
                <a:sym typeface="Helvetica"/>
              </a:rPr>
              <a:t>D</a:t>
            </a:r>
            <a:r>
              <a:rPr lang="en-FI" b="1" kern="0" spc="-24">
                <a:latin typeface="Helvetica"/>
                <a:cs typeface="Helvetica"/>
                <a:sym typeface="Helvetica"/>
              </a:rPr>
              <a:t>e</a:t>
            </a:r>
            <a:r>
              <a:rPr lang="en-GB" b="1" kern="0" spc="-24">
                <a:latin typeface="Helvetica"/>
                <a:cs typeface="Helvetica"/>
                <a:sym typeface="Helvetica"/>
              </a:rPr>
              <a:t>s</a:t>
            </a:r>
            <a:r>
              <a:rPr lang="en-FI" b="1" kern="0" spc="-24" err="1">
                <a:latin typeface="Helvetica"/>
                <a:cs typeface="Helvetica"/>
                <a:sym typeface="Helvetica"/>
              </a:rPr>
              <a:t>i</a:t>
            </a:r>
            <a:r>
              <a:rPr lang="en-GB" b="1" kern="0" spc="-24">
                <a:latin typeface="Helvetica"/>
                <a:cs typeface="Helvetica"/>
                <a:sym typeface="Helvetica"/>
              </a:rPr>
              <a:t>g</a:t>
            </a:r>
            <a:r>
              <a:rPr lang="en-FI" b="1" kern="0" spc="-24">
                <a:latin typeface="Helvetica"/>
                <a:cs typeface="Helvetica"/>
                <a:sym typeface="Helvetica"/>
              </a:rPr>
              <a:t>n</a:t>
            </a:r>
            <a:endParaRPr lang="en-US" b="1" kern="0" spc="-24">
              <a:latin typeface="Helvetica"/>
              <a:cs typeface="Helvetica"/>
              <a:sym typeface="Helvetica"/>
            </a:endParaRPr>
          </a:p>
        </p:txBody>
      </p:sp>
      <p:sp>
        <p:nvSpPr>
          <p:cNvPr id="22" name="TextBox 33">
            <a:extLst>
              <a:ext uri="{FF2B5EF4-FFF2-40B4-BE49-F238E27FC236}">
                <a16:creationId xmlns:a16="http://schemas.microsoft.com/office/drawing/2014/main" id="{FAF7B17A-3DF7-D44B-B5D7-72F833DAFB9E}"/>
              </a:ext>
            </a:extLst>
          </p:cNvPr>
          <p:cNvSpPr txBox="1"/>
          <p:nvPr/>
        </p:nvSpPr>
        <p:spPr>
          <a:xfrm rot="1802784">
            <a:off x="10090809" y="4076724"/>
            <a:ext cx="1613434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12750" hangingPunct="0">
              <a:lnSpc>
                <a:spcPts val="2064"/>
              </a:lnSpc>
            </a:pPr>
            <a:r>
              <a:rPr lang="en-GB" b="1" kern="0" spc="-24">
                <a:latin typeface="Helvetica"/>
                <a:cs typeface="Helvetica"/>
                <a:sym typeface="Helvetica"/>
              </a:rPr>
              <a:t>S</a:t>
            </a:r>
            <a:r>
              <a:rPr lang="en-FI" b="1" kern="0" spc="-24">
                <a:latin typeface="Helvetica"/>
                <a:cs typeface="Helvetica"/>
                <a:sym typeface="Helvetica"/>
              </a:rPr>
              <a:t>c</a:t>
            </a:r>
            <a:r>
              <a:rPr lang="en-GB" b="1" kern="0" spc="-24" err="1">
                <a:latin typeface="Helvetica"/>
                <a:cs typeface="Helvetica"/>
                <a:sym typeface="Helvetica"/>
              </a:rPr>
              <a:t>i</a:t>
            </a:r>
            <a:r>
              <a:rPr lang="en-FI" b="1" kern="0" spc="-24">
                <a:latin typeface="Helvetica"/>
                <a:cs typeface="Helvetica"/>
                <a:sym typeface="Helvetica"/>
              </a:rPr>
              <a:t>e</a:t>
            </a:r>
            <a:r>
              <a:rPr lang="en-GB" b="1" kern="0" spc="-24">
                <a:latin typeface="Helvetica"/>
                <a:cs typeface="Helvetica"/>
                <a:sym typeface="Helvetica"/>
              </a:rPr>
              <a:t>n</a:t>
            </a:r>
            <a:r>
              <a:rPr lang="en-FI" b="1" kern="0" spc="-24">
                <a:latin typeface="Helvetica"/>
                <a:cs typeface="Helvetica"/>
                <a:sym typeface="Helvetica"/>
              </a:rPr>
              <a:t>c</a:t>
            </a:r>
            <a:r>
              <a:rPr lang="en-GB" b="1" kern="0" spc="-24">
                <a:latin typeface="Helvetica"/>
                <a:cs typeface="Helvetica"/>
                <a:sym typeface="Helvetica"/>
              </a:rPr>
              <a:t>e</a:t>
            </a:r>
            <a:r>
              <a:rPr lang="en-FI" b="1" kern="0" spc="-24">
                <a:latin typeface="Helvetica"/>
                <a:cs typeface="Helvetica"/>
                <a:sym typeface="Helvetica"/>
              </a:rPr>
              <a:t> &amp;</a:t>
            </a:r>
          </a:p>
          <a:p>
            <a:pPr algn="ctr" defTabSz="412750" hangingPunct="0">
              <a:lnSpc>
                <a:spcPts val="2064"/>
              </a:lnSpc>
            </a:pPr>
            <a:r>
              <a:rPr lang="en-FI" b="1" kern="0" spc="-24">
                <a:latin typeface="Helvetica"/>
                <a:cs typeface="Helvetica"/>
                <a:sym typeface="Helvetica"/>
              </a:rPr>
              <a:t>Technology</a:t>
            </a:r>
            <a:endParaRPr lang="en-US" b="1" kern="0" spc="-24">
              <a:latin typeface="Helvetica"/>
              <a:cs typeface="Helvetica"/>
              <a:sym typeface="Helvetica"/>
            </a:endParaRPr>
          </a:p>
        </p:txBody>
      </p:sp>
      <p:sp>
        <p:nvSpPr>
          <p:cNvPr id="23" name="TextBox 34">
            <a:extLst>
              <a:ext uri="{FF2B5EF4-FFF2-40B4-BE49-F238E27FC236}">
                <a16:creationId xmlns:a16="http://schemas.microsoft.com/office/drawing/2014/main" id="{F985580E-FE38-7542-82F8-A4CC413E010C}"/>
              </a:ext>
            </a:extLst>
          </p:cNvPr>
          <p:cNvSpPr txBox="1"/>
          <p:nvPr/>
        </p:nvSpPr>
        <p:spPr>
          <a:xfrm>
            <a:off x="8668398" y="3398542"/>
            <a:ext cx="1668073" cy="361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12750" hangingPunct="0">
              <a:lnSpc>
                <a:spcPts val="2064"/>
              </a:lnSpc>
            </a:pPr>
            <a:r>
              <a:rPr lang="en-FI" b="1" kern="0" spc="-24">
                <a:latin typeface="Helvetica"/>
                <a:cs typeface="Helvetica"/>
                <a:sym typeface="Helvetica"/>
              </a:rPr>
              <a:t>I</a:t>
            </a:r>
            <a:r>
              <a:rPr lang="en-GB" b="1" kern="0" spc="-24">
                <a:latin typeface="Helvetica"/>
                <a:cs typeface="Helvetica"/>
                <a:sym typeface="Helvetica"/>
              </a:rPr>
              <a:t>N</a:t>
            </a:r>
            <a:r>
              <a:rPr lang="en-FI" b="1" kern="0" spc="-24">
                <a:latin typeface="Helvetica"/>
                <a:cs typeface="Helvetica"/>
                <a:sym typeface="Helvetica"/>
              </a:rPr>
              <a:t>N</a:t>
            </a:r>
            <a:r>
              <a:rPr lang="en-GB" b="1" kern="0" spc="-24">
                <a:latin typeface="Helvetica"/>
                <a:cs typeface="Helvetica"/>
                <a:sym typeface="Helvetica"/>
              </a:rPr>
              <a:t>O</a:t>
            </a:r>
            <a:r>
              <a:rPr lang="en-FI" b="1" kern="0" spc="-24">
                <a:latin typeface="Helvetica"/>
                <a:cs typeface="Helvetica"/>
                <a:sym typeface="Helvetica"/>
              </a:rPr>
              <a:t>V</a:t>
            </a:r>
            <a:r>
              <a:rPr lang="en-GB" b="1" kern="0" spc="-24">
                <a:latin typeface="Helvetica"/>
                <a:cs typeface="Helvetica"/>
                <a:sym typeface="Helvetica"/>
              </a:rPr>
              <a:t>A</a:t>
            </a:r>
            <a:r>
              <a:rPr lang="en-FI" b="1" kern="0" spc="-24">
                <a:latin typeface="Helvetica"/>
                <a:cs typeface="Helvetica"/>
                <a:sym typeface="Helvetica"/>
              </a:rPr>
              <a:t>T</a:t>
            </a:r>
            <a:r>
              <a:rPr lang="en-GB" b="1" kern="0" spc="-24">
                <a:latin typeface="Helvetica"/>
                <a:cs typeface="Helvetica"/>
                <a:sym typeface="Helvetica"/>
              </a:rPr>
              <a:t>I</a:t>
            </a:r>
            <a:r>
              <a:rPr lang="en-FI" b="1" kern="0" spc="-24">
                <a:latin typeface="Helvetica"/>
                <a:cs typeface="Helvetica"/>
                <a:sym typeface="Helvetica"/>
              </a:rPr>
              <a:t>O</a:t>
            </a:r>
            <a:r>
              <a:rPr lang="en-GB" b="1" kern="0" spc="-24">
                <a:latin typeface="Helvetica"/>
                <a:cs typeface="Helvetica"/>
                <a:sym typeface="Helvetica"/>
              </a:rPr>
              <a:t>N</a:t>
            </a:r>
            <a:endParaRPr lang="en-US" b="1" kern="0" spc="-24">
              <a:latin typeface="Helvetica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264251957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" name="Image" descr="Imag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888741"/>
            <a:ext cx="2309114" cy="969259"/>
          </a:xfrm>
          <a:prstGeom prst="rect">
            <a:avLst/>
          </a:prstGeom>
          <a:ln w="12700">
            <a:miter lim="400000"/>
          </a:ln>
        </p:spPr>
      </p:pic>
      <p:sp>
        <p:nvSpPr>
          <p:cNvPr id="114" name="Aalto University is the most creative and inspiring community for new thinking"/>
          <p:cNvSpPr txBox="1"/>
          <p:nvPr/>
        </p:nvSpPr>
        <p:spPr>
          <a:xfrm>
            <a:off x="294995" y="2101872"/>
            <a:ext cx="5908304" cy="33752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marL="305435" indent="-305435" defTabSz="228600" hangingPunct="0">
              <a:buSzPct val="100000"/>
              <a:buFont typeface="Arial"/>
              <a:buChar char="•"/>
              <a:defRPr sz="5500" b="1">
                <a:latin typeface="Arial"/>
                <a:ea typeface="Arial"/>
                <a:cs typeface="Arial"/>
                <a:sym typeface="Arial"/>
              </a:defRPr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We have successfully brought together science, art, </a:t>
            </a:r>
            <a:r>
              <a:rPr lang="en-US" sz="2400" b="1" kern="0">
                <a:ea typeface="+mn-lt"/>
                <a:cs typeface="+mn-lt"/>
                <a:sym typeface="Arial"/>
              </a:rPr>
              <a:t>technology,</a:t>
            </a: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 </a:t>
            </a:r>
            <a:endParaRPr lang="fi-FI" sz="2400" b="1" kern="0">
              <a:solidFill>
                <a:srgbClr val="000000"/>
              </a:solidFill>
              <a:latin typeface="Helvetica"/>
              <a:cs typeface="Helvetica"/>
              <a:sym typeface="Arial"/>
            </a:endParaRPr>
          </a:p>
          <a:p>
            <a:pPr defTabSz="228600">
              <a:buSzPct val="100000"/>
              <a:defRPr sz="5500" b="1">
                <a:latin typeface="Arial"/>
                <a:ea typeface="Arial"/>
                <a:cs typeface="Arial"/>
                <a:sym typeface="Arial"/>
              </a:defRPr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    and business to become 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                </a:t>
            </a:r>
            <a:endParaRPr lang="fi-FI" sz="2400" b="1" kern="0">
              <a:solidFill>
                <a:srgbClr val="000000"/>
              </a:solidFill>
              <a:latin typeface="Helvetica"/>
              <a:cs typeface="Helvetica"/>
              <a:sym typeface="Arial"/>
            </a:endParaRPr>
          </a:p>
          <a:p>
            <a:pPr defTabSz="228600">
              <a:buSzPct val="100000"/>
              <a:defRPr sz="5500" b="1">
                <a:latin typeface="Arial"/>
                <a:ea typeface="Arial"/>
                <a:cs typeface="Arial"/>
                <a:sym typeface="Arial"/>
              </a:defRPr>
            </a:pP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   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forerunner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 in 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our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key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areas</a:t>
            </a:r>
            <a:endParaRPr lang="fi-FI" sz="2400" b="1" kern="0">
              <a:solidFill>
                <a:srgbClr val="000000"/>
              </a:solidFill>
              <a:latin typeface="Arial"/>
              <a:ea typeface="+mn-lt"/>
              <a:cs typeface="Helvetica"/>
            </a:endParaRPr>
          </a:p>
          <a:p>
            <a:pPr marL="305435" indent="-305435" defTabSz="228600" hangingPunct="0">
              <a:buSzPct val="100000"/>
              <a:buFontTx/>
              <a:buChar char="•"/>
              <a:defRPr sz="5500" b="1">
                <a:latin typeface="Arial"/>
                <a:ea typeface="Arial"/>
                <a:cs typeface="Arial"/>
                <a:sym typeface="Arial"/>
              </a:defRPr>
            </a:pP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Our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campus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has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 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rapidly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 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grown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  </a:t>
            </a:r>
            <a:br>
              <a:rPr lang="fi-FI" sz="2400" b="1" kern="0">
                <a:latin typeface="Arial"/>
                <a:cs typeface="Arial"/>
              </a:rPr>
            </a:b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into a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world-class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collaboration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hub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  </a:t>
            </a:r>
            <a:endParaRPr lang="fi-FI" sz="2400" b="1" kern="0">
              <a:solidFill>
                <a:srgbClr val="000000"/>
              </a:solidFill>
              <a:latin typeface="Arial"/>
              <a:cs typeface="Arial"/>
            </a:endParaRPr>
          </a:p>
          <a:p>
            <a:pPr marL="305435" indent="-305435" defTabSz="228600" hangingPunct="0">
              <a:buSzPct val="100000"/>
              <a:buFont typeface="Arial"/>
              <a:buChar char="•"/>
              <a:defRPr sz="5500" b="1">
                <a:latin typeface="Arial"/>
                <a:ea typeface="Arial"/>
                <a:cs typeface="Arial"/>
                <a:sym typeface="Arial"/>
              </a:defRPr>
            </a:pP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We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have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transformed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into 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one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of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Europe’s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most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international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universities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 </a:t>
            </a:r>
            <a:endParaRPr sz="2400" b="1" ker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15" name="Key Strategic Choices"/>
          <p:cNvSpPr txBox="1"/>
          <p:nvPr/>
        </p:nvSpPr>
        <p:spPr>
          <a:xfrm rot="21597083">
            <a:off x="295721" y="103081"/>
            <a:ext cx="7548753" cy="17132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5400" tIns="25400" rIns="25400" bIns="25400" anchor="ctr">
            <a:spAutoFit/>
          </a:bodyPr>
          <a:lstStyle/>
          <a:p>
            <a:pPr defTabSz="412750" hangingPunct="0">
              <a:defRPr sz="10800" b="1">
                <a:latin typeface="Arial"/>
                <a:ea typeface="Arial"/>
                <a:cs typeface="Arial"/>
                <a:sym typeface="Arial"/>
              </a:defRPr>
            </a:pPr>
            <a:r>
              <a:rPr sz="5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ogether</a:t>
            </a:r>
            <a:r>
              <a:rPr lang="en-US" sz="5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</a:t>
            </a:r>
            <a:r>
              <a:rPr sz="5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we </a:t>
            </a:r>
            <a:br>
              <a:rPr lang="fi-FI" sz="5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</a:br>
            <a:r>
              <a:rPr sz="5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have</a:t>
            </a:r>
            <a:r>
              <a:rPr lang="fi-FI" sz="5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sz="5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me f</a:t>
            </a:r>
            <a:r>
              <a:rPr lang="fi-FI" sz="5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</a:t>
            </a:r>
            <a:r>
              <a:rPr sz="5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r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26EA5AF-2B4A-3744-B1E1-98D23D0F28BF}"/>
              </a:ext>
            </a:extLst>
          </p:cNvPr>
          <p:cNvSpPr txBox="1">
            <a:spLocks/>
          </p:cNvSpPr>
          <p:nvPr/>
        </p:nvSpPr>
        <p:spPr>
          <a:xfrm>
            <a:off x="8063811" y="642208"/>
            <a:ext cx="3178564" cy="3274869"/>
          </a:xfrm>
          <a:prstGeom prst="rect">
            <a:avLst/>
          </a:prstGeom>
        </p:spPr>
        <p:txBody>
          <a:bodyPr tIns="108000" rIns="108000" bIns="108000"/>
          <a:lstStyle>
            <a:lvl1pPr marL="609608" indent="-609608" algn="l" defTabSz="81281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5689" kern="1200">
                <a:solidFill>
                  <a:schemeClr val="tx1"/>
                </a:solidFill>
                <a:latin typeface="+mn-lt"/>
                <a:ea typeface="ＭＳ Ｐゴシック" charset="0"/>
                <a:cs typeface="MS PGothic" pitchFamily="34" charset="-128"/>
              </a:defRPr>
            </a:lvl1pPr>
            <a:lvl2pPr marL="1320817" indent="-508006" algn="l" defTabSz="81281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4978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2032025" indent="-406405" algn="l" defTabSz="81281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4267" kern="1200">
                <a:solidFill>
                  <a:schemeClr val="tx1"/>
                </a:solidFill>
                <a:latin typeface="+mn-lt"/>
                <a:ea typeface="ヒラギノ角ゴ Pro W3" charset="-128"/>
                <a:cs typeface="ヒラギノ角ゴ Pro W3" charset="-128"/>
              </a:defRPr>
            </a:lvl3pPr>
            <a:lvl4pPr marL="2844836" indent="-406405" algn="l" defTabSz="81281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3556" kern="1200">
                <a:solidFill>
                  <a:schemeClr val="tx1"/>
                </a:solidFill>
                <a:latin typeface="+mn-lt"/>
                <a:ea typeface="ヒラギノ角ゴ Pro W3" charset="-128"/>
                <a:cs typeface="ヒラギノ角ゴ Pro W3" charset="0"/>
              </a:defRPr>
            </a:lvl4pPr>
            <a:lvl5pPr marL="3657646" indent="-406405" algn="l" defTabSz="81281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3556" kern="1200">
                <a:solidFill>
                  <a:schemeClr val="tx1"/>
                </a:solidFill>
                <a:latin typeface="+mn-lt"/>
                <a:ea typeface="ＭＳ Ｐゴシック" charset="0"/>
                <a:cs typeface="MS PGothic" pitchFamily="34" charset="-128"/>
              </a:defRPr>
            </a:lvl5pPr>
            <a:lvl6pPr marL="4470456" indent="-406405" algn="l" defTabSz="812810" rtl="0" eaLnBrk="1" latinLnBrk="0" hangingPunct="1">
              <a:spcBef>
                <a:spcPct val="20000"/>
              </a:spcBef>
              <a:buFont typeface="Arial"/>
              <a:buChar char="•"/>
              <a:defRPr sz="35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283266" indent="-406405" algn="l" defTabSz="812810" rtl="0" eaLnBrk="1" latinLnBrk="0" hangingPunct="1">
              <a:spcBef>
                <a:spcPct val="20000"/>
              </a:spcBef>
              <a:buFont typeface="Arial"/>
              <a:buChar char="•"/>
              <a:defRPr sz="35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096076" indent="-406405" algn="l" defTabSz="812810" rtl="0" eaLnBrk="1" latinLnBrk="0" hangingPunct="1">
              <a:spcBef>
                <a:spcPct val="20000"/>
              </a:spcBef>
              <a:buFont typeface="Arial"/>
              <a:buChar char="•"/>
              <a:defRPr sz="35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908886" indent="-406405" algn="l" defTabSz="812810" rtl="0" eaLnBrk="1" latinLnBrk="0" hangingPunct="1">
              <a:spcBef>
                <a:spcPct val="20000"/>
              </a:spcBef>
              <a:buFont typeface="Arial"/>
              <a:buChar char="•"/>
              <a:defRPr sz="35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93831">
              <a:spcBef>
                <a:spcPts val="0"/>
              </a:spcBef>
              <a:buNone/>
              <a:defRPr/>
            </a:pPr>
            <a:endParaRPr lang="en-GB" sz="1320">
              <a:solidFill>
                <a:prstClr val="white"/>
              </a:solidFill>
              <a:latin typeface="Arial Black" panose="020B0A04020102020204" pitchFamily="34" charset="0"/>
              <a:ea typeface="Georgia" charset="0"/>
              <a:cs typeface="Georgia" charset="0"/>
              <a:sym typeface="Helvetica"/>
            </a:endParaRP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7D8EE7DC-468F-B34E-B4F0-105BF33BEBE4}"/>
              </a:ext>
            </a:extLst>
          </p:cNvPr>
          <p:cNvSpPr txBox="1">
            <a:spLocks/>
          </p:cNvSpPr>
          <p:nvPr/>
        </p:nvSpPr>
        <p:spPr>
          <a:xfrm>
            <a:off x="7873220" y="630289"/>
            <a:ext cx="3178564" cy="3274869"/>
          </a:xfrm>
          <a:prstGeom prst="rect">
            <a:avLst/>
          </a:prstGeom>
        </p:spPr>
        <p:txBody>
          <a:bodyPr tIns="108000" rIns="108000" bIns="108000"/>
          <a:lstStyle>
            <a:lvl1pPr marL="609608" indent="-609608" algn="l" defTabSz="81281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5689" kern="1200">
                <a:solidFill>
                  <a:schemeClr val="tx1"/>
                </a:solidFill>
                <a:latin typeface="+mn-lt"/>
                <a:ea typeface="ＭＳ Ｐゴシック" charset="0"/>
                <a:cs typeface="MS PGothic" pitchFamily="34" charset="-128"/>
              </a:defRPr>
            </a:lvl1pPr>
            <a:lvl2pPr marL="1320817" indent="-508006" algn="l" defTabSz="81281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4978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2032025" indent="-406405" algn="l" defTabSz="81281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4267" kern="1200">
                <a:solidFill>
                  <a:schemeClr val="tx1"/>
                </a:solidFill>
                <a:latin typeface="+mn-lt"/>
                <a:ea typeface="ヒラギノ角ゴ Pro W3" charset="-128"/>
                <a:cs typeface="ヒラギノ角ゴ Pro W3" charset="-128"/>
              </a:defRPr>
            </a:lvl3pPr>
            <a:lvl4pPr marL="2844836" indent="-406405" algn="l" defTabSz="81281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3556" kern="1200">
                <a:solidFill>
                  <a:schemeClr val="tx1"/>
                </a:solidFill>
                <a:latin typeface="+mn-lt"/>
                <a:ea typeface="ヒラギノ角ゴ Pro W3" charset="-128"/>
                <a:cs typeface="ヒラギノ角ゴ Pro W3" charset="0"/>
              </a:defRPr>
            </a:lvl4pPr>
            <a:lvl5pPr marL="3657646" indent="-406405" algn="l" defTabSz="81281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3556" kern="1200">
                <a:solidFill>
                  <a:schemeClr val="tx1"/>
                </a:solidFill>
                <a:latin typeface="+mn-lt"/>
                <a:ea typeface="ＭＳ Ｐゴシック" charset="0"/>
                <a:cs typeface="MS PGothic" pitchFamily="34" charset="-128"/>
              </a:defRPr>
            </a:lvl5pPr>
            <a:lvl6pPr marL="4470456" indent="-406405" algn="l" defTabSz="812810" rtl="0" eaLnBrk="1" latinLnBrk="0" hangingPunct="1">
              <a:spcBef>
                <a:spcPct val="20000"/>
              </a:spcBef>
              <a:buFont typeface="Arial"/>
              <a:buChar char="•"/>
              <a:defRPr sz="35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283266" indent="-406405" algn="l" defTabSz="812810" rtl="0" eaLnBrk="1" latinLnBrk="0" hangingPunct="1">
              <a:spcBef>
                <a:spcPct val="20000"/>
              </a:spcBef>
              <a:buFont typeface="Arial"/>
              <a:buChar char="•"/>
              <a:defRPr sz="35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096076" indent="-406405" algn="l" defTabSz="812810" rtl="0" eaLnBrk="1" latinLnBrk="0" hangingPunct="1">
              <a:spcBef>
                <a:spcPct val="20000"/>
              </a:spcBef>
              <a:buFont typeface="Arial"/>
              <a:buChar char="•"/>
              <a:defRPr sz="35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908886" indent="-406405" algn="l" defTabSz="812810" rtl="0" eaLnBrk="1" latinLnBrk="0" hangingPunct="1">
              <a:spcBef>
                <a:spcPct val="20000"/>
              </a:spcBef>
              <a:buFont typeface="Arial"/>
              <a:buChar char="•"/>
              <a:defRPr sz="35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93831">
              <a:spcBef>
                <a:spcPts val="0"/>
              </a:spcBef>
              <a:buNone/>
              <a:defRPr/>
            </a:pPr>
            <a:endParaRPr lang="en-GB" sz="8640" b="1" baseline="30000">
              <a:solidFill>
                <a:prstClr val="white"/>
              </a:solidFill>
              <a:latin typeface="Arial" panose="020B0604020202020204"/>
              <a:ea typeface="Georgia" charset="0"/>
              <a:cs typeface="Georgia" charset="0"/>
              <a:sym typeface="Helvetica"/>
            </a:endParaRPr>
          </a:p>
          <a:p>
            <a:pPr marL="0" indent="0" defTabSz="493831">
              <a:spcBef>
                <a:spcPts val="0"/>
              </a:spcBef>
              <a:buNone/>
              <a:defRPr/>
            </a:pPr>
            <a:endParaRPr lang="en-GB" sz="1320">
              <a:solidFill>
                <a:prstClr val="white"/>
              </a:solidFill>
              <a:latin typeface="Arial Black" panose="020B0A04020102020204" pitchFamily="34" charset="0"/>
              <a:ea typeface="Georgia" charset="0"/>
              <a:cs typeface="Georgia" charset="0"/>
              <a:sym typeface="Helvetica"/>
            </a:endParaRPr>
          </a:p>
          <a:p>
            <a:pPr marL="0" indent="0" defTabSz="493831">
              <a:spcBef>
                <a:spcPts val="0"/>
              </a:spcBef>
              <a:buNone/>
              <a:defRPr/>
            </a:pPr>
            <a:r>
              <a:rPr lang="en-GB" sz="1320">
                <a:solidFill>
                  <a:prstClr val="white"/>
                </a:solidFill>
                <a:latin typeface="Arial Black" panose="020B0A04020102020204" pitchFamily="34" charset="0"/>
                <a:ea typeface="Georgia" charset="0"/>
                <a:cs typeface="Georgia" charset="0"/>
                <a:sym typeface="Helvetica"/>
              </a:rPr>
              <a:t> </a:t>
            </a:r>
          </a:p>
        </p:txBody>
      </p:sp>
      <p:pic>
        <p:nvPicPr>
          <p:cNvPr id="8" name="Unto_Rautio_Aalto_0333.jpg" descr="Unto_Rautio_Aalto_0333.jpg">
            <a:extLst>
              <a:ext uri="{FF2B5EF4-FFF2-40B4-BE49-F238E27FC236}">
                <a16:creationId xmlns:a16="http://schemas.microsoft.com/office/drawing/2014/main" id="{AE5D7A22-7DC1-EC4B-B5BB-58CA78CAAE4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137"/>
          <a:stretch/>
        </p:blipFill>
        <p:spPr>
          <a:xfrm rot="21551418">
            <a:off x="6469881" y="-433687"/>
            <a:ext cx="6366423" cy="734592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2" y="0"/>
                </a:moveTo>
                <a:lnTo>
                  <a:pt x="0" y="21560"/>
                </a:lnTo>
                <a:lnTo>
                  <a:pt x="3598" y="21600"/>
                </a:lnTo>
                <a:lnTo>
                  <a:pt x="21251" y="21600"/>
                </a:lnTo>
                <a:lnTo>
                  <a:pt x="21600" y="238"/>
                </a:lnTo>
                <a:lnTo>
                  <a:pt x="352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53908600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Aalto University is the most creative and inspiring community for new thinking"/>
          <p:cNvSpPr txBox="1"/>
          <p:nvPr/>
        </p:nvSpPr>
        <p:spPr>
          <a:xfrm>
            <a:off x="272979" y="1992937"/>
            <a:ext cx="5978309" cy="37446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marL="305435" indent="-305435" defTabSz="228600" hangingPunct="0">
              <a:buSzPct val="100000"/>
              <a:buFontTx/>
              <a:buChar char="•"/>
              <a:defRPr sz="5500" b="1">
                <a:latin typeface="Arial"/>
                <a:ea typeface="Arial"/>
                <a:cs typeface="Arial"/>
                <a:sym typeface="Arial"/>
              </a:defRPr>
            </a:pP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Excellence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and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increasing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 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impact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in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our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chosen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key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areas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in 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research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art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and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education</a:t>
            </a:r>
            <a:endParaRPr lang="fi-FI" sz="2400" b="1" kern="0">
              <a:solidFill>
                <a:srgbClr val="000000"/>
              </a:solidFill>
              <a:latin typeface="Arial"/>
              <a:cs typeface="Arial"/>
            </a:endParaRPr>
          </a:p>
          <a:p>
            <a:pPr marL="305435" indent="-305435" defTabSz="228600" hangingPunct="0">
              <a:buSzPct val="100000"/>
              <a:buFontTx/>
              <a:buChar char="•"/>
              <a:defRPr sz="5500" b="1">
                <a:latin typeface="Arial"/>
                <a:ea typeface="Arial"/>
                <a:cs typeface="Arial"/>
                <a:sym typeface="Arial"/>
              </a:defRPr>
            </a:pP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unique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combination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of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collaborating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disciplines</a:t>
            </a:r>
            <a:endParaRPr lang="fi-FI" sz="2400" b="1" kern="0">
              <a:solidFill>
                <a:srgbClr val="000000"/>
              </a:solidFill>
              <a:latin typeface="Arial"/>
              <a:cs typeface="Arial"/>
            </a:endParaRPr>
          </a:p>
          <a:p>
            <a:pPr marL="305435" indent="-305435" defTabSz="228600" hangingPunct="0">
              <a:buSzPct val="100000"/>
              <a:buFontTx/>
              <a:buChar char="•"/>
              <a:defRPr sz="5500" b="1">
                <a:latin typeface="Arial"/>
                <a:ea typeface="Arial"/>
                <a:cs typeface="Arial"/>
                <a:sym typeface="Arial"/>
              </a:defRPr>
            </a:pP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Extensive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co-creation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with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partners</a:t>
            </a:r>
            <a:endParaRPr lang="fi-FI" sz="2400" b="1" kern="0">
              <a:solidFill>
                <a:srgbClr val="000000"/>
              </a:solidFill>
              <a:latin typeface="Arial"/>
              <a:cs typeface="Arial"/>
            </a:endParaRPr>
          </a:p>
          <a:p>
            <a:pPr marL="305435" indent="-305435" defTabSz="228600" hangingPunct="0">
              <a:buSzPct val="100000"/>
              <a:buFontTx/>
              <a:buChar char="•"/>
              <a:defRPr sz="5500" b="1">
                <a:latin typeface="Arial"/>
                <a:ea typeface="Arial"/>
                <a:cs typeface="Arial"/>
                <a:sym typeface="Arial"/>
              </a:defRPr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n internationally</a:t>
            </a:r>
            <a:r>
              <a:rPr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prominent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start-up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ecosystem</a:t>
            </a:r>
            <a:endParaRPr lang="fi-FI" sz="2400" b="1" kern="0" err="1">
              <a:solidFill>
                <a:srgbClr val="000000"/>
              </a:solidFill>
              <a:latin typeface="Arial"/>
              <a:cs typeface="Arial"/>
            </a:endParaRPr>
          </a:p>
          <a:p>
            <a:pPr marL="305435" indent="-305435" defTabSz="228600" hangingPunct="0">
              <a:buSzPct val="100000"/>
              <a:buFontTx/>
              <a:buChar char="•"/>
              <a:defRPr sz="5500" b="1">
                <a:latin typeface="Arial"/>
                <a:ea typeface="Arial"/>
                <a:cs typeface="Arial"/>
                <a:sym typeface="Arial"/>
              </a:defRPr>
            </a:pP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courageous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low-hierarchy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culture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with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empowered</a:t>
            </a:r>
            <a:r>
              <a:rPr lang="fi-FI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fi-FI" sz="2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students</a:t>
            </a:r>
            <a:endParaRPr sz="2400" b="1" ker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20" name="Key Strategic Choices"/>
          <p:cNvSpPr txBox="1"/>
          <p:nvPr/>
        </p:nvSpPr>
        <p:spPr>
          <a:xfrm rot="21597083">
            <a:off x="385495" y="125255"/>
            <a:ext cx="7548753" cy="17132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25400" tIns="25400" rIns="25400" bIns="25400" anchor="ctr">
            <a:spAutoFit/>
          </a:bodyPr>
          <a:lstStyle/>
          <a:p>
            <a:pPr defTabSz="412750" hangingPunct="0">
              <a:defRPr sz="10800" b="1">
                <a:latin typeface="Arial"/>
                <a:ea typeface="Arial"/>
                <a:cs typeface="Arial"/>
                <a:sym typeface="Arial"/>
              </a:defRPr>
            </a:pPr>
            <a:r>
              <a:rPr lang="fi-FI" sz="5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Our</a:t>
            </a:r>
            <a:r>
              <a:rPr lang="fi-FI" sz="5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fi-FI" sz="5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current</a:t>
            </a:r>
            <a:r>
              <a:rPr sz="5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</a:p>
          <a:p>
            <a:pPr defTabSz="412750" hangingPunct="0">
              <a:defRPr sz="10800" b="1">
                <a:latin typeface="Arial"/>
                <a:ea typeface="Arial"/>
                <a:cs typeface="Arial"/>
                <a:sym typeface="Arial"/>
              </a:defRPr>
            </a:pPr>
            <a:r>
              <a:rPr sz="5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strengths</a:t>
            </a:r>
          </a:p>
        </p:txBody>
      </p:sp>
      <p:pic>
        <p:nvPicPr>
          <p:cNvPr id="14" name="Image" descr="Image">
            <a:extLst>
              <a:ext uri="{FF2B5EF4-FFF2-40B4-BE49-F238E27FC236}">
                <a16:creationId xmlns:a16="http://schemas.microsoft.com/office/drawing/2014/main" id="{33982DE6-14BD-F548-A79D-7EDD8CA22A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888741"/>
            <a:ext cx="2309114" cy="969259"/>
          </a:xfrm>
          <a:prstGeom prst="rect">
            <a:avLst/>
          </a:prstGeom>
          <a:ln w="12700">
            <a:miter lim="400000"/>
          </a:ln>
        </p:spPr>
      </p:pic>
      <p:pic>
        <p:nvPicPr>
          <p:cNvPr id="6" name="Picture 5" descr="A picture containing light, outdoor, traffic, black&#10;&#10;Description automatically generated">
            <a:extLst>
              <a:ext uri="{FF2B5EF4-FFF2-40B4-BE49-F238E27FC236}">
                <a16:creationId xmlns:a16="http://schemas.microsoft.com/office/drawing/2014/main" id="{8512015A-C199-7942-8D51-8729349AB9F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91"/>
          <a:stretch/>
        </p:blipFill>
        <p:spPr>
          <a:xfrm>
            <a:off x="6563999" y="-88186"/>
            <a:ext cx="6048146" cy="6980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36368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" name="Unto_Rautio_Aalto_0333.jpg" descr="Unto_Rautio_Aalto_0333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21551418">
            <a:off x="6533097" y="-103390"/>
            <a:ext cx="5816601" cy="70165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2" y="0"/>
                </a:moveTo>
                <a:lnTo>
                  <a:pt x="0" y="21560"/>
                </a:lnTo>
                <a:lnTo>
                  <a:pt x="3598" y="21600"/>
                </a:lnTo>
                <a:lnTo>
                  <a:pt x="21251" y="21600"/>
                </a:lnTo>
                <a:lnTo>
                  <a:pt x="21600" y="238"/>
                </a:lnTo>
                <a:lnTo>
                  <a:pt x="352" y="0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130" name="Key Strategic Choices"/>
          <p:cNvSpPr txBox="1"/>
          <p:nvPr/>
        </p:nvSpPr>
        <p:spPr>
          <a:xfrm rot="21597083">
            <a:off x="332863" y="131379"/>
            <a:ext cx="7548753" cy="17132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25400" tIns="25400" rIns="25400" bIns="25400" anchor="ctr">
            <a:spAutoFit/>
          </a:bodyPr>
          <a:lstStyle/>
          <a:p>
            <a:pPr defTabSz="412750" hangingPunct="0">
              <a:defRPr sz="10800" b="1">
                <a:latin typeface="Arial"/>
                <a:ea typeface="Arial"/>
                <a:cs typeface="Arial"/>
                <a:sym typeface="Arial"/>
              </a:defRPr>
            </a:pPr>
            <a:r>
              <a:rPr sz="5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ajor trends  </a:t>
            </a:r>
            <a:br>
              <a:rPr sz="5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</a:br>
            <a:r>
              <a:rPr sz="5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shaping u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EDF110D-F67E-2D40-B82E-D4FD64C981A8}"/>
              </a:ext>
            </a:extLst>
          </p:cNvPr>
          <p:cNvSpPr/>
          <p:nvPr/>
        </p:nvSpPr>
        <p:spPr>
          <a:xfrm>
            <a:off x="224639" y="2120185"/>
            <a:ext cx="5939095" cy="3785652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228600" indent="-228600" defTabSz="412750" hangingPunct="0">
              <a:buFont typeface="Arial" panose="020B0604020202020204" pitchFamily="34" charset="0"/>
              <a:buChar char="•"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The global sustainability crisis</a:t>
            </a:r>
            <a:endParaRPr lang="en-US" sz="2400" kern="0">
              <a:solidFill>
                <a:srgbClr val="000000"/>
              </a:solidFill>
              <a:latin typeface="Arial"/>
              <a:cs typeface="Arial"/>
              <a:sym typeface="Helvetica"/>
            </a:endParaRPr>
          </a:p>
          <a:p>
            <a:pPr marL="228600" indent="-228600" defTabSz="412750" hangingPunct="0">
              <a:buFont typeface="Arial" panose="020B0604020202020204" pitchFamily="34" charset="0"/>
              <a:buChar char="•"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Technological disruptions and </a:t>
            </a:r>
            <a:br>
              <a:rPr lang="en-US" sz="2400" b="1" ker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transformation of working life</a:t>
            </a:r>
            <a:endParaRPr lang="en-US" sz="2400" b="1" kern="0">
              <a:solidFill>
                <a:srgbClr val="000000"/>
              </a:solidFill>
              <a:latin typeface="Arial"/>
              <a:cs typeface="Arial"/>
            </a:endParaRPr>
          </a:p>
          <a:p>
            <a:pPr marL="228600" indent="-228600" defTabSz="412750" hangingPunct="0">
              <a:buFont typeface="Arial" panose="020B0604020202020204" pitchFamily="34" charset="0"/>
              <a:buChar char="•"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Global </a:t>
            </a:r>
            <a:r>
              <a:rPr lang="en-US" sz="2400" b="1" kern="0">
                <a:latin typeface="Arial"/>
                <a:cs typeface="Arial"/>
                <a:sym typeface="Helvetica"/>
              </a:rPr>
              <a:t>economic </a:t>
            </a:r>
            <a:r>
              <a:rPr lang="en-US" sz="2400" b="1" kern="0" err="1">
                <a:latin typeface="Arial"/>
                <a:cs typeface="Arial"/>
                <a:sym typeface="Helvetica"/>
              </a:rPr>
              <a:t>centre</a:t>
            </a:r>
            <a:r>
              <a:rPr lang="en-US" sz="2400" b="1" kern="0">
                <a:solidFill>
                  <a:srgbClr val="FF0000"/>
                </a:solidFill>
                <a:latin typeface="Arial"/>
                <a:cs typeface="Arial"/>
                <a:sym typeface="Helvetica"/>
              </a:rPr>
              <a:t> </a:t>
            </a: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of gravity shifting towards Asia</a:t>
            </a:r>
            <a:endParaRPr lang="en-US" sz="2400" b="1" kern="0">
              <a:solidFill>
                <a:srgbClr val="000000"/>
              </a:solidFill>
              <a:latin typeface="Arial"/>
              <a:cs typeface="Arial"/>
            </a:endParaRPr>
          </a:p>
          <a:p>
            <a:pPr marL="228600" indent="-228600" defTabSz="412750" hangingPunct="0">
              <a:buFont typeface="Arial" panose="020B0604020202020204" pitchFamily="34" charset="0"/>
              <a:buChar char="•"/>
            </a:pPr>
            <a:endParaRPr lang="en-US" sz="2400" b="1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Helvetica"/>
            </a:endParaRPr>
          </a:p>
          <a:p>
            <a:pPr marL="228600" indent="-228600" defTabSz="412750" hangingPunct="0">
              <a:buFont typeface="Arial" panose="020B0604020202020204" pitchFamily="34" charset="0"/>
              <a:buChar char="•"/>
            </a:pP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The changing landscape of higher education: increasing </a:t>
            </a:r>
            <a:br>
              <a:rPr lang="en-US" sz="2400" b="1" ker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demand and competition, </a:t>
            </a:r>
            <a:r>
              <a:rPr lang="en-US" sz="2400" b="1" kern="0" err="1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digitalisation</a:t>
            </a:r>
            <a:r>
              <a:rPr lang="en-US" sz="24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, pressure on funding</a:t>
            </a:r>
            <a:endParaRPr lang="en-US" sz="2400" b="1" kern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18B2D5BB-754D-FA49-812D-2C25A34053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888741"/>
            <a:ext cx="2309114" cy="969259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243397639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Aalto University is the most creative and inspiring community for new thinking"/>
          <p:cNvSpPr txBox="1"/>
          <p:nvPr/>
        </p:nvSpPr>
        <p:spPr>
          <a:xfrm>
            <a:off x="349118" y="1234390"/>
            <a:ext cx="5359072" cy="448327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 defTabSz="457200">
              <a:defRPr sz="5500" b="1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342900" indent="-342900" defTabSz="228600" hangingPunct="0">
              <a:buFont typeface="Arial" panose="020B0604020202020204" pitchFamily="34" charset="0"/>
              <a:buChar char="•"/>
            </a:pPr>
            <a:r>
              <a:rPr lang="fi-FI" sz="2400" kern="0" err="1">
                <a:solidFill>
                  <a:srgbClr val="000000"/>
                </a:solidFill>
              </a:rPr>
              <a:t>We</a:t>
            </a:r>
            <a:r>
              <a:rPr lang="fi-FI" sz="2400" kern="0">
                <a:solidFill>
                  <a:srgbClr val="000000"/>
                </a:solidFill>
              </a:rPr>
              <a:t> </a:t>
            </a:r>
            <a:r>
              <a:rPr lang="fi-FI" sz="2400" kern="0" err="1">
                <a:solidFill>
                  <a:srgbClr val="000000"/>
                </a:solidFill>
              </a:rPr>
              <a:t>have</a:t>
            </a:r>
            <a:r>
              <a:rPr lang="fi-FI" sz="2400" kern="0">
                <a:solidFill>
                  <a:srgbClr val="000000"/>
                </a:solidFill>
              </a:rPr>
              <a:t> </a:t>
            </a:r>
            <a:r>
              <a:rPr lang="fi-FI" sz="2400" kern="0" err="1">
                <a:solidFill>
                  <a:srgbClr val="000000"/>
                </a:solidFill>
              </a:rPr>
              <a:t>adopted</a:t>
            </a:r>
            <a:r>
              <a:rPr lang="fi-FI" sz="2400" kern="0">
                <a:solidFill>
                  <a:srgbClr val="000000"/>
                </a:solidFill>
              </a:rPr>
              <a:t> a </a:t>
            </a:r>
            <a:r>
              <a:rPr lang="fi-FI" sz="2400" kern="0" err="1">
                <a:solidFill>
                  <a:srgbClr val="000000"/>
                </a:solidFill>
              </a:rPr>
              <a:t>living</a:t>
            </a:r>
            <a:r>
              <a:rPr lang="fi-FI" sz="2400" kern="0">
                <a:solidFill>
                  <a:srgbClr val="000000"/>
                </a:solidFill>
              </a:rPr>
              <a:t> </a:t>
            </a:r>
            <a:r>
              <a:rPr lang="fi-FI" sz="2400" kern="0" err="1">
                <a:solidFill>
                  <a:srgbClr val="000000"/>
                </a:solidFill>
              </a:rPr>
              <a:t>strategy</a:t>
            </a:r>
            <a:r>
              <a:rPr lang="fi-FI" sz="2400" kern="0">
                <a:solidFill>
                  <a:srgbClr val="000000"/>
                </a:solidFill>
              </a:rPr>
              <a:t> </a:t>
            </a:r>
            <a:r>
              <a:rPr lang="fi-FI" sz="2400" kern="0" err="1">
                <a:solidFill>
                  <a:srgbClr val="000000"/>
                </a:solidFill>
              </a:rPr>
              <a:t>approach</a:t>
            </a:r>
            <a:r>
              <a:rPr lang="fi-FI" sz="2400" kern="0">
                <a:solidFill>
                  <a:srgbClr val="000000"/>
                </a:solidFill>
              </a:rPr>
              <a:t> </a:t>
            </a:r>
            <a:r>
              <a:rPr lang="fi-FI" sz="2400" kern="0" err="1">
                <a:solidFill>
                  <a:srgbClr val="000000"/>
                </a:solidFill>
              </a:rPr>
              <a:t>tailored</a:t>
            </a:r>
            <a:r>
              <a:rPr lang="fi-FI" sz="2400" kern="0">
                <a:solidFill>
                  <a:srgbClr val="000000"/>
                </a:solidFill>
              </a:rPr>
              <a:t> for a </a:t>
            </a:r>
            <a:r>
              <a:rPr lang="fi-FI" sz="2400" kern="0" err="1">
                <a:solidFill>
                  <a:srgbClr val="000000"/>
                </a:solidFill>
              </a:rPr>
              <a:t>world</a:t>
            </a:r>
            <a:r>
              <a:rPr lang="fi-FI" sz="2400" kern="0">
                <a:solidFill>
                  <a:srgbClr val="000000"/>
                </a:solidFill>
              </a:rPr>
              <a:t> in </a:t>
            </a:r>
            <a:r>
              <a:rPr lang="fi-FI" sz="2400" kern="0" err="1">
                <a:solidFill>
                  <a:srgbClr val="000000"/>
                </a:solidFill>
              </a:rPr>
              <a:t>motion</a:t>
            </a:r>
            <a:r>
              <a:rPr lang="fi-FI" sz="2400" kern="0">
                <a:solidFill>
                  <a:srgbClr val="000000"/>
                </a:solidFill>
              </a:rPr>
              <a:t> </a:t>
            </a:r>
          </a:p>
          <a:p>
            <a:pPr marL="342900" indent="-342900" defTabSz="228600" hangingPunct="0">
              <a:buFont typeface="Arial" panose="020B0604020202020204" pitchFamily="34" charset="0"/>
              <a:buChar char="•"/>
            </a:pPr>
            <a:r>
              <a:rPr lang="fi-FI" sz="2400" kern="0" err="1">
                <a:solidFill>
                  <a:srgbClr val="000000"/>
                </a:solidFill>
              </a:rPr>
              <a:t>Our</a:t>
            </a:r>
            <a:r>
              <a:rPr lang="fi-FI" sz="2400" kern="0">
                <a:solidFill>
                  <a:srgbClr val="000000"/>
                </a:solidFill>
              </a:rPr>
              <a:t> </a:t>
            </a:r>
            <a:r>
              <a:rPr lang="fi-FI" sz="2400" kern="0" err="1">
                <a:solidFill>
                  <a:srgbClr val="000000"/>
                </a:solidFill>
              </a:rPr>
              <a:t>purpose</a:t>
            </a:r>
            <a:r>
              <a:rPr lang="fi-FI" sz="2400" kern="0">
                <a:solidFill>
                  <a:srgbClr val="000000"/>
                </a:solidFill>
              </a:rPr>
              <a:t>, </a:t>
            </a:r>
            <a:r>
              <a:rPr lang="fi-FI" sz="2400" kern="0" err="1">
                <a:solidFill>
                  <a:srgbClr val="000000"/>
                </a:solidFill>
              </a:rPr>
              <a:t>values</a:t>
            </a:r>
            <a:r>
              <a:rPr lang="fi-FI" sz="2400" kern="0">
                <a:solidFill>
                  <a:srgbClr val="000000"/>
                </a:solidFill>
              </a:rPr>
              <a:t>, and </a:t>
            </a:r>
            <a:r>
              <a:rPr lang="fi-FI" sz="2400" kern="0" err="1">
                <a:solidFill>
                  <a:srgbClr val="000000"/>
                </a:solidFill>
              </a:rPr>
              <a:t>way</a:t>
            </a:r>
            <a:r>
              <a:rPr lang="fi-FI" sz="2400" kern="0">
                <a:solidFill>
                  <a:srgbClr val="000000"/>
                </a:solidFill>
              </a:rPr>
              <a:t> of </a:t>
            </a:r>
            <a:r>
              <a:rPr lang="fi-FI" sz="2400" kern="0" err="1">
                <a:solidFill>
                  <a:srgbClr val="000000"/>
                </a:solidFill>
              </a:rPr>
              <a:t>working</a:t>
            </a:r>
            <a:r>
              <a:rPr lang="fi-FI" sz="2400" kern="0">
                <a:solidFill>
                  <a:srgbClr val="000000"/>
                </a:solidFill>
              </a:rPr>
              <a:t> </a:t>
            </a:r>
            <a:r>
              <a:rPr lang="fi-FI" sz="2400" kern="0" err="1">
                <a:solidFill>
                  <a:srgbClr val="000000"/>
                </a:solidFill>
              </a:rPr>
              <a:t>define</a:t>
            </a:r>
            <a:r>
              <a:rPr lang="fi-FI" sz="2400" kern="0">
                <a:solidFill>
                  <a:srgbClr val="000000"/>
                </a:solidFill>
              </a:rPr>
              <a:t> </a:t>
            </a:r>
            <a:r>
              <a:rPr lang="fi-FI" sz="2400" kern="0" err="1">
                <a:solidFill>
                  <a:srgbClr val="000000"/>
                </a:solidFill>
              </a:rPr>
              <a:t>our</a:t>
            </a:r>
            <a:r>
              <a:rPr lang="fi-FI" sz="2400" kern="0">
                <a:solidFill>
                  <a:srgbClr val="000000"/>
                </a:solidFill>
              </a:rPr>
              <a:t> long-</a:t>
            </a:r>
            <a:r>
              <a:rPr lang="fi-FI" sz="2400" kern="0" err="1">
                <a:solidFill>
                  <a:srgbClr val="000000"/>
                </a:solidFill>
              </a:rPr>
              <a:t>term</a:t>
            </a:r>
            <a:r>
              <a:rPr lang="fi-FI" sz="2400" kern="0">
                <a:solidFill>
                  <a:srgbClr val="000000"/>
                </a:solidFill>
              </a:rPr>
              <a:t> </a:t>
            </a:r>
            <a:r>
              <a:rPr lang="fi-FI" sz="2400" kern="0" err="1">
                <a:solidFill>
                  <a:srgbClr val="000000"/>
                </a:solidFill>
              </a:rPr>
              <a:t>direction</a:t>
            </a:r>
            <a:endParaRPr lang="fi-FI" sz="2400" kern="0">
              <a:solidFill>
                <a:srgbClr val="000000"/>
              </a:solidFill>
            </a:endParaRPr>
          </a:p>
          <a:p>
            <a:pPr marL="342900" indent="-342900" defTabSz="228600" hangingPunct="0">
              <a:buFont typeface="Arial" panose="020B0604020202020204" pitchFamily="34" charset="0"/>
              <a:buChar char="•"/>
            </a:pPr>
            <a:r>
              <a:rPr lang="fi-FI" sz="2400" kern="0" err="1">
                <a:solidFill>
                  <a:srgbClr val="000000"/>
                </a:solidFill>
              </a:rPr>
              <a:t>We</a:t>
            </a:r>
            <a:r>
              <a:rPr lang="fi-FI" sz="2400" kern="0">
                <a:solidFill>
                  <a:srgbClr val="000000"/>
                </a:solidFill>
              </a:rPr>
              <a:t> </a:t>
            </a:r>
            <a:r>
              <a:rPr lang="fi-FI" sz="2400" kern="0" err="1">
                <a:solidFill>
                  <a:srgbClr val="000000"/>
                </a:solidFill>
              </a:rPr>
              <a:t>choose</a:t>
            </a:r>
            <a:r>
              <a:rPr lang="fi-FI" sz="2400" kern="0">
                <a:solidFill>
                  <a:srgbClr val="000000"/>
                </a:solidFill>
              </a:rPr>
              <a:t> </a:t>
            </a:r>
            <a:r>
              <a:rPr lang="fi-FI" sz="2400" kern="0" err="1">
                <a:solidFill>
                  <a:srgbClr val="000000"/>
                </a:solidFill>
              </a:rPr>
              <a:t>development</a:t>
            </a:r>
            <a:r>
              <a:rPr lang="fi-FI" sz="2400" kern="0">
                <a:solidFill>
                  <a:srgbClr val="000000"/>
                </a:solidFill>
              </a:rPr>
              <a:t> </a:t>
            </a:r>
            <a:r>
              <a:rPr lang="fi-FI" sz="2400" kern="0" err="1">
                <a:solidFill>
                  <a:srgbClr val="000000"/>
                </a:solidFill>
              </a:rPr>
              <a:t>areas</a:t>
            </a:r>
            <a:r>
              <a:rPr lang="fi-FI" sz="2400" kern="0">
                <a:solidFill>
                  <a:srgbClr val="000000"/>
                </a:solidFill>
              </a:rPr>
              <a:t> and </a:t>
            </a:r>
            <a:r>
              <a:rPr lang="fi-FI" sz="2400" kern="0" err="1">
                <a:solidFill>
                  <a:srgbClr val="000000"/>
                </a:solidFill>
              </a:rPr>
              <a:t>actions</a:t>
            </a:r>
            <a:r>
              <a:rPr lang="fi-FI" sz="2400" kern="0">
                <a:solidFill>
                  <a:srgbClr val="000000"/>
                </a:solidFill>
              </a:rPr>
              <a:t> </a:t>
            </a:r>
            <a:r>
              <a:rPr lang="fi-FI" sz="2400" kern="0" err="1">
                <a:solidFill>
                  <a:srgbClr val="000000"/>
                </a:solidFill>
              </a:rPr>
              <a:t>that</a:t>
            </a:r>
            <a:r>
              <a:rPr lang="fi-FI" sz="2400" kern="0">
                <a:solidFill>
                  <a:srgbClr val="000000"/>
                </a:solidFill>
              </a:rPr>
              <a:t> </a:t>
            </a:r>
            <a:r>
              <a:rPr lang="fi-FI" sz="2400" kern="0" err="1">
                <a:solidFill>
                  <a:srgbClr val="000000"/>
                </a:solidFill>
              </a:rPr>
              <a:t>best</a:t>
            </a:r>
            <a:r>
              <a:rPr lang="fi-FI" sz="2400" kern="0">
                <a:solidFill>
                  <a:srgbClr val="000000"/>
                </a:solidFill>
              </a:rPr>
              <a:t> </a:t>
            </a:r>
            <a:r>
              <a:rPr lang="fi-FI" sz="2400" kern="0" err="1">
                <a:solidFill>
                  <a:srgbClr val="000000"/>
                </a:solidFill>
              </a:rPr>
              <a:t>drive</a:t>
            </a:r>
            <a:r>
              <a:rPr lang="fi-FI" sz="2400" kern="0">
                <a:solidFill>
                  <a:srgbClr val="000000"/>
                </a:solidFill>
              </a:rPr>
              <a:t> us </a:t>
            </a:r>
            <a:r>
              <a:rPr lang="fi-FI" sz="2400" kern="0" err="1">
                <a:solidFill>
                  <a:srgbClr val="000000"/>
                </a:solidFill>
              </a:rPr>
              <a:t>towards</a:t>
            </a:r>
            <a:r>
              <a:rPr lang="fi-FI" sz="2400" kern="0">
                <a:solidFill>
                  <a:srgbClr val="000000"/>
                </a:solidFill>
              </a:rPr>
              <a:t> </a:t>
            </a:r>
            <a:r>
              <a:rPr lang="fi-FI" sz="2400" kern="0" err="1">
                <a:solidFill>
                  <a:srgbClr val="000000"/>
                </a:solidFill>
              </a:rPr>
              <a:t>our</a:t>
            </a:r>
            <a:r>
              <a:rPr lang="fi-FI" sz="2400" kern="0">
                <a:solidFill>
                  <a:srgbClr val="000000"/>
                </a:solidFill>
              </a:rPr>
              <a:t> </a:t>
            </a:r>
            <a:r>
              <a:rPr lang="fi-FI" sz="2400" kern="0" err="1">
                <a:solidFill>
                  <a:srgbClr val="000000"/>
                </a:solidFill>
              </a:rPr>
              <a:t>purpose</a:t>
            </a:r>
            <a:endParaRPr lang="fi-FI" sz="2400" kern="0">
              <a:solidFill>
                <a:srgbClr val="000000"/>
              </a:solidFill>
            </a:endParaRPr>
          </a:p>
          <a:p>
            <a:pPr marL="342900" indent="-342900" defTabSz="228600" hangingPunct="0">
              <a:buFont typeface="Arial" panose="020B0604020202020204" pitchFamily="34" charset="0"/>
              <a:buChar char="•"/>
            </a:pPr>
            <a:r>
              <a:rPr lang="fi-FI" sz="2400" kern="0">
                <a:solidFill>
                  <a:srgbClr val="000000"/>
                </a:solidFill>
              </a:rPr>
              <a:t>As a </a:t>
            </a:r>
            <a:r>
              <a:rPr lang="fi-FI" sz="2400" kern="0" err="1">
                <a:solidFill>
                  <a:srgbClr val="000000"/>
                </a:solidFill>
              </a:rPr>
              <a:t>community</a:t>
            </a:r>
            <a:r>
              <a:rPr lang="fi-FI" sz="2400" kern="0">
                <a:solidFill>
                  <a:srgbClr val="000000"/>
                </a:solidFill>
              </a:rPr>
              <a:t>, </a:t>
            </a:r>
            <a:r>
              <a:rPr lang="fi-FI" sz="2400" kern="0" err="1">
                <a:solidFill>
                  <a:srgbClr val="000000"/>
                </a:solidFill>
              </a:rPr>
              <a:t>we</a:t>
            </a:r>
            <a:r>
              <a:rPr lang="fi-FI" sz="2400" kern="0">
                <a:solidFill>
                  <a:srgbClr val="000000"/>
                </a:solidFill>
              </a:rPr>
              <a:t> </a:t>
            </a:r>
            <a:r>
              <a:rPr lang="fi-FI" sz="2400" kern="0" err="1">
                <a:solidFill>
                  <a:srgbClr val="000000"/>
                </a:solidFill>
              </a:rPr>
              <a:t>proactively</a:t>
            </a:r>
            <a:r>
              <a:rPr lang="fi-FI" sz="2400" kern="0">
                <a:solidFill>
                  <a:srgbClr val="000000"/>
                </a:solidFill>
              </a:rPr>
              <a:t> and </a:t>
            </a:r>
            <a:r>
              <a:rPr lang="fi-FI" sz="2400" kern="0" err="1">
                <a:solidFill>
                  <a:srgbClr val="000000"/>
                </a:solidFill>
              </a:rPr>
              <a:t>continuously</a:t>
            </a:r>
            <a:r>
              <a:rPr lang="fi-FI" sz="2400" kern="0">
                <a:solidFill>
                  <a:srgbClr val="000000"/>
                </a:solidFill>
              </a:rPr>
              <a:t> </a:t>
            </a:r>
            <a:r>
              <a:rPr lang="fi-FI" sz="2400" kern="0" err="1">
                <a:solidFill>
                  <a:srgbClr val="000000"/>
                </a:solidFill>
              </a:rPr>
              <a:t>re-evaluate</a:t>
            </a:r>
            <a:r>
              <a:rPr lang="fi-FI" sz="2400" kern="0">
                <a:solidFill>
                  <a:srgbClr val="000000"/>
                </a:solidFill>
              </a:rPr>
              <a:t> </a:t>
            </a:r>
            <a:r>
              <a:rPr lang="fi-FI" sz="2400" kern="0" err="1">
                <a:solidFill>
                  <a:srgbClr val="000000"/>
                </a:solidFill>
              </a:rPr>
              <a:t>our</a:t>
            </a:r>
            <a:r>
              <a:rPr lang="fi-FI" sz="2400" kern="0">
                <a:solidFill>
                  <a:srgbClr val="000000"/>
                </a:solidFill>
              </a:rPr>
              <a:t> </a:t>
            </a:r>
            <a:r>
              <a:rPr lang="fi-FI" sz="2400" kern="0" err="1">
                <a:solidFill>
                  <a:srgbClr val="000000"/>
                </a:solidFill>
              </a:rPr>
              <a:t>choices</a:t>
            </a:r>
            <a:r>
              <a:rPr lang="fi-FI" sz="2400" kern="0">
                <a:solidFill>
                  <a:srgbClr val="000000"/>
                </a:solidFill>
              </a:rPr>
              <a:t> </a:t>
            </a:r>
            <a:endParaRPr sz="2400" kern="0">
              <a:solidFill>
                <a:srgbClr val="000000"/>
              </a:solidFill>
            </a:endParaRPr>
          </a:p>
        </p:txBody>
      </p:sp>
      <p:sp>
        <p:nvSpPr>
          <p:cNvPr id="134" name="Key Strategic Choices"/>
          <p:cNvSpPr txBox="1"/>
          <p:nvPr/>
        </p:nvSpPr>
        <p:spPr>
          <a:xfrm rot="21597083">
            <a:off x="329404" y="177821"/>
            <a:ext cx="7548753" cy="8822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5400" tIns="25400" rIns="25400" bIns="25400" anchor="ctr">
            <a:spAutoFit/>
          </a:bodyPr>
          <a:lstStyle/>
          <a:p>
            <a:pPr defTabSz="412750" hangingPunct="0">
              <a:defRPr sz="10800" b="1">
                <a:latin typeface="Arial"/>
                <a:ea typeface="Arial"/>
                <a:cs typeface="Arial"/>
                <a:sym typeface="Arial"/>
              </a:defRPr>
            </a:pPr>
            <a:r>
              <a:rPr lang="fi-FI" sz="5400" b="1" kern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Living</a:t>
            </a:r>
            <a:r>
              <a:rPr lang="fi-FI" sz="5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sz="5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strategy</a:t>
            </a:r>
            <a:endParaRPr lang="fi-FI" sz="54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35" name="Unto_Rautio_Aalto_0333.jpg" descr="Unto_Rautio_Aalto_0333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21551418">
            <a:off x="6533098" y="-103390"/>
            <a:ext cx="5816601" cy="70165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2" y="0"/>
                </a:moveTo>
                <a:lnTo>
                  <a:pt x="0" y="21560"/>
                </a:lnTo>
                <a:lnTo>
                  <a:pt x="3598" y="21600"/>
                </a:lnTo>
                <a:lnTo>
                  <a:pt x="21251" y="21600"/>
                </a:lnTo>
                <a:lnTo>
                  <a:pt x="21600" y="238"/>
                </a:lnTo>
                <a:lnTo>
                  <a:pt x="352" y="0"/>
                </a:lnTo>
                <a:close/>
              </a:path>
            </a:pathLst>
          </a:custGeom>
          <a:ln w="12700">
            <a:miter lim="400000"/>
          </a:ln>
        </p:spPr>
      </p:pic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0217F884-9927-9F42-84FF-F5AC1D82C15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88742"/>
            <a:ext cx="2309114" cy="969259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53985651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5739A71-71B3-7743-ABE0-0B3AE61B510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654"/>
          <a:stretch/>
        </p:blipFill>
        <p:spPr>
          <a:xfrm>
            <a:off x="68318" y="-1"/>
            <a:ext cx="12512565" cy="6396763"/>
          </a:xfrm>
          <a:prstGeom prst="rect">
            <a:avLst/>
          </a:prstGeom>
        </p:spPr>
      </p:pic>
      <p:pic>
        <p:nvPicPr>
          <p:cNvPr id="13" name="Image" descr="Image">
            <a:extLst>
              <a:ext uri="{FF2B5EF4-FFF2-40B4-BE49-F238E27FC236}">
                <a16:creationId xmlns:a16="http://schemas.microsoft.com/office/drawing/2014/main" id="{6DB15EFD-0A38-CE4E-A923-E6E8329C043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88742"/>
            <a:ext cx="2309114" cy="969259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613270328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51C4DCF-8753-3B49-855E-C653ADD8783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9185" y="0"/>
            <a:ext cx="1163362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1167979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7" name="Image" descr="Imag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82887" y="5888741"/>
            <a:ext cx="2309113" cy="969259"/>
          </a:xfrm>
          <a:prstGeom prst="rect">
            <a:avLst/>
          </a:prstGeom>
          <a:ln w="12700">
            <a:miter lim="400000"/>
          </a:ln>
        </p:spPr>
      </p:pic>
      <p:sp>
        <p:nvSpPr>
          <p:cNvPr id="168" name="Aalto University is the most creative and inspiring community for new thinking"/>
          <p:cNvSpPr txBox="1"/>
          <p:nvPr/>
        </p:nvSpPr>
        <p:spPr>
          <a:xfrm>
            <a:off x="6329871" y="2979406"/>
            <a:ext cx="5526632" cy="26673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defTabSz="412750" hangingPunct="0"/>
            <a:r>
              <a:rPr lang="en-US" sz="2000" b="1" kern="0">
                <a:latin typeface="Arial"/>
                <a:cs typeface="Arial"/>
                <a:sym typeface="Helvetica"/>
              </a:rPr>
              <a:t>Focus of development: </a:t>
            </a:r>
            <a:r>
              <a:rPr lang="en-US" sz="2000" kern="0">
                <a:latin typeface="Arial"/>
                <a:cs typeface="Arial"/>
                <a:sym typeface="Helvetica"/>
              </a:rPr>
              <a:t>Driving excellence </a:t>
            </a:r>
          </a:p>
          <a:p>
            <a:pPr defTabSz="412750" hangingPunct="0"/>
            <a:endParaRPr lang="en-US" sz="2000" b="1" kern="0">
              <a:solidFill>
                <a:srgbClr val="FFD733"/>
              </a:solidFill>
              <a:latin typeface="Arial" panose="020B0604020202020204" pitchFamily="34" charset="0"/>
              <a:cs typeface="Arial" panose="020B0604020202020204" pitchFamily="34" charset="0"/>
              <a:sym typeface="Helvetica"/>
            </a:endParaRPr>
          </a:p>
          <a:p>
            <a:pPr defTabSz="412750" hangingPunct="0"/>
            <a:r>
              <a:rPr lang="en-US" sz="20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We create world-class clusters of excellence in our key research </a:t>
            </a:r>
            <a:r>
              <a:rPr lang="fi-FI" sz="2000" b="1" kern="0" err="1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areas</a:t>
            </a:r>
            <a:r>
              <a:rPr lang="fi-FI" sz="20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 and </a:t>
            </a:r>
            <a:r>
              <a:rPr lang="fi-FI" sz="2000" b="1" kern="0" err="1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bring</a:t>
            </a:r>
            <a:r>
              <a:rPr lang="fi-FI" sz="20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  </a:t>
            </a:r>
            <a:br>
              <a:rPr lang="fi-FI" sz="20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</a:br>
            <a:r>
              <a:rPr lang="en-US" sz="20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complementary talent together </a:t>
            </a:r>
            <a:r>
              <a:rPr lang="fi-FI" sz="20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to </a:t>
            </a:r>
            <a:r>
              <a:rPr lang="fi-FI" sz="2000" b="1" kern="0" err="1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work</a:t>
            </a:r>
            <a:r>
              <a:rPr lang="fi-FI" sz="20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 on </a:t>
            </a:r>
            <a:r>
              <a:rPr lang="fi-FI" sz="2000" b="1" kern="0" err="1">
                <a:latin typeface="Arial"/>
                <a:cs typeface="Arial"/>
                <a:sym typeface="Helvetica"/>
              </a:rPr>
              <a:t>grand</a:t>
            </a:r>
            <a:r>
              <a:rPr lang="fi-FI" sz="2000" b="1" kern="0">
                <a:latin typeface="Arial"/>
                <a:cs typeface="Arial"/>
                <a:sym typeface="Helvetica"/>
              </a:rPr>
              <a:t> </a:t>
            </a:r>
            <a:r>
              <a:rPr lang="fi-FI" sz="2000" b="1" kern="0" err="1">
                <a:latin typeface="Arial"/>
                <a:cs typeface="Arial"/>
                <a:sym typeface="Helvetica"/>
              </a:rPr>
              <a:t>challenges</a:t>
            </a:r>
            <a:r>
              <a:rPr lang="en-US" sz="2000" b="1" kern="0">
                <a:latin typeface="Arial"/>
                <a:cs typeface="Arial"/>
                <a:sym typeface="Helvetica"/>
              </a:rPr>
              <a:t>.</a:t>
            </a:r>
            <a:r>
              <a:rPr lang="en-US" sz="2000" b="1" kern="0">
                <a:solidFill>
                  <a:srgbClr val="FF0000"/>
                </a:solidFill>
                <a:latin typeface="Arial"/>
                <a:cs typeface="Arial"/>
                <a:sym typeface="Helvetica"/>
              </a:rPr>
              <a:t> </a:t>
            </a:r>
          </a:p>
          <a:p>
            <a:pPr defTabSz="412750" hangingPunct="0"/>
            <a:endParaRPr lang="en-US" sz="2000" b="1" kern="0">
              <a:solidFill>
                <a:srgbClr val="000000"/>
              </a:solidFill>
              <a:latin typeface="Arial"/>
              <a:cs typeface="Arial"/>
              <a:sym typeface="Helvetica"/>
            </a:endParaRPr>
          </a:p>
          <a:p>
            <a:pPr defTabSz="412750" hangingPunct="0"/>
            <a:r>
              <a:rPr lang="fi-FI" sz="1500" kern="0" err="1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Actions</a:t>
            </a:r>
            <a:r>
              <a:rPr lang="en-US" sz="1500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: </a:t>
            </a:r>
            <a:r>
              <a:rPr lang="fi-FI" sz="1500" b="1" kern="0" err="1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Attracting</a:t>
            </a:r>
            <a:r>
              <a:rPr lang="fi-FI" sz="15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 and </a:t>
            </a:r>
            <a:r>
              <a:rPr lang="fi-FI" sz="1500" b="1" kern="0" err="1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fostering</a:t>
            </a:r>
            <a:r>
              <a:rPr lang="fi-FI" sz="15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 </a:t>
            </a:r>
            <a:r>
              <a:rPr lang="fi-FI" sz="1500" b="1" kern="0" err="1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talent</a:t>
            </a:r>
            <a:r>
              <a:rPr lang="en-US" sz="15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, </a:t>
            </a:r>
            <a:r>
              <a:rPr lang="fi-FI" sz="1500" b="1" kern="0" err="1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developing</a:t>
            </a:r>
            <a:r>
              <a:rPr lang="fi-FI" sz="15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 </a:t>
            </a:r>
            <a:r>
              <a:rPr lang="fi-FI" sz="1500" b="1" kern="0" err="1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selected</a:t>
            </a:r>
            <a:r>
              <a:rPr lang="fi-FI" sz="15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 </a:t>
            </a:r>
            <a:r>
              <a:rPr lang="en-US" sz="15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research</a:t>
            </a:r>
            <a:r>
              <a:rPr lang="fi-FI" sz="15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 i</a:t>
            </a:r>
            <a:r>
              <a:rPr lang="en-US" sz="1500" b="1" kern="0" err="1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nfrastructures</a:t>
            </a:r>
            <a:r>
              <a:rPr lang="en-US" sz="15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, new </a:t>
            </a:r>
            <a:r>
              <a:rPr lang="fi-FI" sz="1500" b="1" kern="0" err="1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collaboration</a:t>
            </a:r>
            <a:r>
              <a:rPr lang="fi-FI" sz="15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 </a:t>
            </a:r>
            <a:r>
              <a:rPr lang="fi-FI" sz="1500" b="1" kern="0" err="1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across</a:t>
            </a:r>
            <a:r>
              <a:rPr lang="fi-FI" sz="1500" b="1" kern="0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 </a:t>
            </a:r>
            <a:r>
              <a:rPr lang="fi-FI" sz="1500" b="1" kern="0" err="1">
                <a:solidFill>
                  <a:srgbClr val="000000"/>
                </a:solidFill>
                <a:latin typeface="Arial"/>
                <a:cs typeface="Arial"/>
                <a:sym typeface="Helvetica"/>
              </a:rPr>
              <a:t>fields</a:t>
            </a:r>
            <a:endParaRPr lang="en-US" sz="1500" b="1" kern="0">
              <a:solidFill>
                <a:srgbClr val="000000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69" name="We Deliver Research Excellence, Making Breakthroughs in…"/>
          <p:cNvSpPr txBox="1"/>
          <p:nvPr/>
        </p:nvSpPr>
        <p:spPr>
          <a:xfrm>
            <a:off x="6329871" y="416912"/>
            <a:ext cx="5685972" cy="18979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defTabSz="228600" hangingPunct="0">
              <a:defRPr sz="8200" b="1">
                <a:latin typeface="Arial"/>
                <a:ea typeface="Arial"/>
                <a:cs typeface="Arial"/>
                <a:sym typeface="Arial"/>
              </a:defRPr>
            </a:pPr>
            <a:r>
              <a:rPr lang="en-US" sz="30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We excel and make breakthroughs in and across science, art, technology and business</a:t>
            </a:r>
          </a:p>
        </p:txBody>
      </p:sp>
      <p:sp>
        <p:nvSpPr>
          <p:cNvPr id="170" name="Circle"/>
          <p:cNvSpPr/>
          <p:nvPr/>
        </p:nvSpPr>
        <p:spPr>
          <a:xfrm rot="20598940">
            <a:off x="150130" y="158030"/>
            <a:ext cx="2513475" cy="2513475"/>
          </a:xfrm>
          <a:prstGeom prst="ellipse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 hangingPunct="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kern="0">
              <a:solidFill>
                <a:srgbClr val="FFFFFF"/>
              </a:solidFill>
              <a:latin typeface="Helvetica Neue Medium"/>
              <a:sym typeface="Helvetica Neue Medium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09156F9-1281-144D-B30D-692B00AD252E}"/>
              </a:ext>
            </a:extLst>
          </p:cNvPr>
          <p:cNvSpPr/>
          <p:nvPr/>
        </p:nvSpPr>
        <p:spPr>
          <a:xfrm>
            <a:off x="176157" y="1183935"/>
            <a:ext cx="2461420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12750" hangingPunct="0"/>
            <a:r>
              <a:rPr lang="fi-FI" sz="2700" b="1" kern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"/>
              </a:rPr>
              <a:t>Research</a:t>
            </a:r>
            <a:endParaRPr lang="en-US" sz="2700" kern="0">
              <a:solidFill>
                <a:srgbClr val="000000"/>
              </a:solidFill>
              <a:latin typeface="Helvetica"/>
              <a:cs typeface="Helvetica"/>
              <a:sym typeface="Helvetica"/>
            </a:endParaRPr>
          </a:p>
        </p:txBody>
      </p:sp>
      <p:sp>
        <p:nvSpPr>
          <p:cNvPr id="9" name="Rectangle 26">
            <a:extLst>
              <a:ext uri="{FF2B5EF4-FFF2-40B4-BE49-F238E27FC236}">
                <a16:creationId xmlns:a16="http://schemas.microsoft.com/office/drawing/2014/main" id="{D13CAE81-9E23-7B4E-BA3D-D6E42E7DE28F}"/>
              </a:ext>
            </a:extLst>
          </p:cNvPr>
          <p:cNvSpPr/>
          <p:nvPr/>
        </p:nvSpPr>
        <p:spPr>
          <a:xfrm>
            <a:off x="1" y="0"/>
            <a:ext cx="6095999" cy="6858000"/>
          </a:xfrm>
          <a:prstGeom prst="rect">
            <a:avLst/>
          </a:prstGeom>
          <a:solidFill>
            <a:srgbClr val="FFD733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12750" hangingPunct="0"/>
            <a:endParaRPr lang="en-FI" sz="3600" kern="0">
              <a:solidFill>
                <a:srgbClr val="FFFFFF"/>
              </a:solidFill>
              <a:latin typeface="Helvetica"/>
              <a:cs typeface="Helvetica"/>
              <a:sym typeface="Helvetica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93575FD-D8DA-C44F-B131-94135C4867A8}"/>
              </a:ext>
            </a:extLst>
          </p:cNvPr>
          <p:cNvSpPr/>
          <p:nvPr/>
        </p:nvSpPr>
        <p:spPr>
          <a:xfrm>
            <a:off x="0" y="465790"/>
            <a:ext cx="2461420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12750" hangingPunct="0"/>
            <a:r>
              <a:rPr lang="fi-FI" sz="2700" b="1" kern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"/>
              </a:rPr>
              <a:t>Research</a:t>
            </a:r>
            <a:endParaRPr lang="en-US" sz="2700" kern="0">
              <a:solidFill>
                <a:srgbClr val="000000"/>
              </a:solidFill>
              <a:latin typeface="Helvetica"/>
              <a:cs typeface="Helvetica"/>
              <a:sym typeface="Helvetica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A784C40-1553-1A40-B37C-9B9E5B2FEC3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5960" y="877161"/>
            <a:ext cx="5526632" cy="549621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CE831CA-9698-684F-B0E1-3A1BCC51E680}"/>
              </a:ext>
            </a:extLst>
          </p:cNvPr>
          <p:cNvCxnSpPr>
            <a:cxnSpLocks/>
          </p:cNvCxnSpPr>
          <p:nvPr/>
        </p:nvCxnSpPr>
        <p:spPr>
          <a:xfrm>
            <a:off x="6329871" y="2638334"/>
            <a:ext cx="702111" cy="0"/>
          </a:xfrm>
          <a:prstGeom prst="line">
            <a:avLst/>
          </a:prstGeom>
          <a:noFill/>
          <a:ln w="63500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516545345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"/>
        <a:ea typeface="Helvetica Neue"/>
        <a:cs typeface="Helvetica Neue"/>
      </a:majorFont>
      <a:minorFont>
        <a:latin typeface="Helvetica"/>
        <a:ea typeface="Helvetica"/>
        <a:cs typeface="Helvetica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210E7C86ED83E44F86D2121A239D33AC" ma:contentTypeVersion="7" ma:contentTypeDescription="Luo uusi asiakirja." ma:contentTypeScope="" ma:versionID="e6fe33b15287bbef5eb12323a27309ab">
  <xsd:schema xmlns:xsd="http://www.w3.org/2001/XMLSchema" xmlns:xs="http://www.w3.org/2001/XMLSchema" xmlns:p="http://schemas.microsoft.com/office/2006/metadata/properties" xmlns:ns2="a6733a50-08ca-4d65-bc9c-bf7f5fd08766" targetNamespace="http://schemas.microsoft.com/office/2006/metadata/properties" ma:root="true" ma:fieldsID="95a47d356687a721d55e1ba769b6b261" ns2:_="">
    <xsd:import namespace="a6733a50-08ca-4d65-bc9c-bf7f5fd0876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733a50-08ca-4d65-bc9c-bf7f5fd087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9D6ADAF-804E-47E4-B338-E66C52A62FB6}"/>
</file>

<file path=customXml/itemProps2.xml><?xml version="1.0" encoding="utf-8"?>
<ds:datastoreItem xmlns:ds="http://schemas.openxmlformats.org/officeDocument/2006/customXml" ds:itemID="{FD75917B-78F2-408B-83FE-F9A3F0B5425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199933C-F781-4963-B510-5D1D3181DACE}">
  <ds:schemaRefs>
    <ds:schemaRef ds:uri="80ef4b6e-655e-4e5d-9dea-886d0480f82f"/>
    <ds:schemaRef ds:uri="8c4954df-db77-4faf-9845-cfa45c2ff1c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15</Slides>
  <Notes>12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6" baseType="lpstr">
      <vt:lpstr>Whit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Aalto Universit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önni Raili</dc:creator>
  <cp:revision>2</cp:revision>
  <cp:lastPrinted>2019-11-26T06:47:32Z</cp:lastPrinted>
  <dcterms:created xsi:type="dcterms:W3CDTF">2019-11-13T05:58:47Z</dcterms:created>
  <dcterms:modified xsi:type="dcterms:W3CDTF">2020-01-07T14:5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10E7C86ED83E44F86D2121A239D33AC</vt:lpwstr>
  </property>
</Properties>
</file>